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revisionInfo.xml" ContentType="application/vnd.ms-powerpoint.revisioninfo+xml"/>
  <Override PartName="/ppt/changesInfos/changesInfo1.xml" ContentType="application/vnd.ms-powerpoint.changesinfo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93" r:id="rId5"/>
  </p:sldMasterIdLst>
  <p:notesMasterIdLst>
    <p:notesMasterId r:id="rId16"/>
  </p:notesMasterIdLst>
  <p:sldIdLst>
    <p:sldId id="268" r:id="rId6"/>
    <p:sldId id="269" r:id="rId7"/>
    <p:sldId id="271" r:id="rId8"/>
    <p:sldId id="279" r:id="rId9"/>
    <p:sldId id="280" r:id="rId10"/>
    <p:sldId id="283" r:id="rId11"/>
    <p:sldId id="281" r:id="rId12"/>
    <p:sldId id="262" r:id="rId13"/>
    <p:sldId id="261" r:id="rId14"/>
    <p:sldId id="272" r:id="rId15"/>
  </p:sldIdLst>
  <p:sldSz cx="24382413" cy="13716000"/>
  <p:notesSz cx="6858000" cy="9144000"/>
  <p:custDataLst>
    <p:tags r:id="rId17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320" userDrawn="1">
          <p15:clr>
            <a:srgbClr val="A4A3A4"/>
          </p15:clr>
        </p15:guide>
        <p15:guide id="2" pos="7679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CFEFD"/>
    <a:srgbClr val="233264"/>
    <a:srgbClr val="F078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20E8A1EE-8318-4C8B-844F-983882467F79}" v="123" dt="2022-09-14T05:50:06.14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– uthev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9653" autoAdjust="0"/>
    <p:restoredTop sz="94660"/>
  </p:normalViewPr>
  <p:slideViewPr>
    <p:cSldViewPr snapToGrid="0">
      <p:cViewPr varScale="1">
        <p:scale>
          <a:sx n="58" d="100"/>
          <a:sy n="58" d="100"/>
        </p:scale>
        <p:origin x="162" y="468"/>
      </p:cViewPr>
      <p:guideLst>
        <p:guide orient="horz" pos="4320"/>
        <p:guide pos="7679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tags" Target="tags/tag1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microsoft.com/office/2016/11/relationships/changesInfo" Target="changesInfos/changesInfo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Tonje Lorem" userId="71044dc3-a9ce-4bdb-8fc6-131200281d53" providerId="ADAL" clId="{20E8A1EE-8318-4C8B-844F-983882467F79}"/>
    <pc:docChg chg="custSel addSld delSld modSld">
      <pc:chgData name="Tonje Lorem" userId="71044dc3-a9ce-4bdb-8fc6-131200281d53" providerId="ADAL" clId="{20E8A1EE-8318-4C8B-844F-983882467F79}" dt="2022-09-14T05:51:27.455" v="718" actId="20577"/>
      <pc:docMkLst>
        <pc:docMk/>
      </pc:docMkLst>
      <pc:sldChg chg="mod modShow">
        <pc:chgData name="Tonje Lorem" userId="71044dc3-a9ce-4bdb-8fc6-131200281d53" providerId="ADAL" clId="{20E8A1EE-8318-4C8B-844F-983882467F79}" dt="2022-09-14T05:17:59.147" v="1" actId="729"/>
        <pc:sldMkLst>
          <pc:docMk/>
          <pc:sldMk cId="478373374" sldId="260"/>
        </pc:sldMkLst>
      </pc:sldChg>
      <pc:sldChg chg="delSp modSp add mod modAnim">
        <pc:chgData name="Tonje Lorem" userId="71044dc3-a9ce-4bdb-8fc6-131200281d53" providerId="ADAL" clId="{20E8A1EE-8318-4C8B-844F-983882467F79}" dt="2022-09-14T05:30:33.550" v="138" actId="20577"/>
        <pc:sldMkLst>
          <pc:docMk/>
          <pc:sldMk cId="115537500" sldId="261"/>
        </pc:sldMkLst>
        <pc:spChg chg="mod">
          <ac:chgData name="Tonje Lorem" userId="71044dc3-a9ce-4bdb-8fc6-131200281d53" providerId="ADAL" clId="{20E8A1EE-8318-4C8B-844F-983882467F79}" dt="2022-09-14T05:30:33.550" v="138" actId="20577"/>
          <ac:spMkLst>
            <pc:docMk/>
            <pc:sldMk cId="115537500" sldId="261"/>
            <ac:spMk id="3" creationId="{91DA6F7B-27FB-48DE-BA24-2A302CB91DB7}"/>
          </ac:spMkLst>
        </pc:spChg>
        <pc:spChg chg="del">
          <ac:chgData name="Tonje Lorem" userId="71044dc3-a9ce-4bdb-8fc6-131200281d53" providerId="ADAL" clId="{20E8A1EE-8318-4C8B-844F-983882467F79}" dt="2022-09-14T05:21:12.348" v="11" actId="478"/>
          <ac:spMkLst>
            <pc:docMk/>
            <pc:sldMk cId="115537500" sldId="261"/>
            <ac:spMk id="6" creationId="{4EE46D4B-B757-4587-9A08-06997B5E4282}"/>
          </ac:spMkLst>
        </pc:spChg>
        <pc:picChg chg="del">
          <ac:chgData name="Tonje Lorem" userId="71044dc3-a9ce-4bdb-8fc6-131200281d53" providerId="ADAL" clId="{20E8A1EE-8318-4C8B-844F-983882467F79}" dt="2022-09-14T05:21:13.895" v="12" actId="478"/>
          <ac:picMkLst>
            <pc:docMk/>
            <pc:sldMk cId="115537500" sldId="261"/>
            <ac:picMk id="9" creationId="{6BD06A59-0687-4D4C-8D5E-DCBC751E47C7}"/>
          </ac:picMkLst>
        </pc:picChg>
      </pc:sldChg>
      <pc:sldChg chg="modSp mod">
        <pc:chgData name="Tonje Lorem" userId="71044dc3-a9ce-4bdb-8fc6-131200281d53" providerId="ADAL" clId="{20E8A1EE-8318-4C8B-844F-983882467F79}" dt="2022-09-14T05:30:51.971" v="162" actId="20577"/>
        <pc:sldMkLst>
          <pc:docMk/>
          <pc:sldMk cId="1074329315" sldId="272"/>
        </pc:sldMkLst>
        <pc:spChg chg="mod">
          <ac:chgData name="Tonje Lorem" userId="71044dc3-a9ce-4bdb-8fc6-131200281d53" providerId="ADAL" clId="{20E8A1EE-8318-4C8B-844F-983882467F79}" dt="2022-09-14T05:30:51.971" v="162" actId="20577"/>
          <ac:spMkLst>
            <pc:docMk/>
            <pc:sldMk cId="1074329315" sldId="272"/>
            <ac:spMk id="4" creationId="{00000000-0000-0000-0000-000000000000}"/>
          </ac:spMkLst>
        </pc:spChg>
      </pc:sldChg>
      <pc:sldChg chg="del">
        <pc:chgData name="Tonje Lorem" userId="71044dc3-a9ce-4bdb-8fc6-131200281d53" providerId="ADAL" clId="{20E8A1EE-8318-4C8B-844F-983882467F79}" dt="2022-09-13T20:59:58.677" v="0" actId="47"/>
        <pc:sldMkLst>
          <pc:docMk/>
          <pc:sldMk cId="4236824647" sldId="277"/>
        </pc:sldMkLst>
      </pc:sldChg>
      <pc:sldChg chg="modSp mod">
        <pc:chgData name="Tonje Lorem" userId="71044dc3-a9ce-4bdb-8fc6-131200281d53" providerId="ADAL" clId="{20E8A1EE-8318-4C8B-844F-983882467F79}" dt="2022-09-14T05:18:41.571" v="9" actId="20577"/>
        <pc:sldMkLst>
          <pc:docMk/>
          <pc:sldMk cId="3014521621" sldId="280"/>
        </pc:sldMkLst>
        <pc:spChg chg="mod">
          <ac:chgData name="Tonje Lorem" userId="71044dc3-a9ce-4bdb-8fc6-131200281d53" providerId="ADAL" clId="{20E8A1EE-8318-4C8B-844F-983882467F79}" dt="2022-09-14T05:18:41.571" v="9" actId="20577"/>
          <ac:spMkLst>
            <pc:docMk/>
            <pc:sldMk cId="3014521621" sldId="280"/>
            <ac:spMk id="13" creationId="{42ADAAE9-F0E2-4681-9D21-4EFE0A4AB08F}"/>
          </ac:spMkLst>
        </pc:spChg>
      </pc:sldChg>
      <pc:sldChg chg="addSp delSp modSp mod">
        <pc:chgData name="Tonje Lorem" userId="71044dc3-a9ce-4bdb-8fc6-131200281d53" providerId="ADAL" clId="{20E8A1EE-8318-4C8B-844F-983882467F79}" dt="2022-09-14T05:50:47.064" v="716" actId="14100"/>
        <pc:sldMkLst>
          <pc:docMk/>
          <pc:sldMk cId="1758808702" sldId="282"/>
        </pc:sldMkLst>
        <pc:picChg chg="add mod">
          <ac:chgData name="Tonje Lorem" userId="71044dc3-a9ce-4bdb-8fc6-131200281d53" providerId="ADAL" clId="{20E8A1EE-8318-4C8B-844F-983882467F79}" dt="2022-09-14T05:45:18.205" v="670" actId="1076"/>
          <ac:picMkLst>
            <pc:docMk/>
            <pc:sldMk cId="1758808702" sldId="282"/>
            <ac:picMk id="6" creationId="{0F44742A-2F45-4079-8D09-4C4F1A530D57}"/>
          </ac:picMkLst>
        </pc:picChg>
        <pc:picChg chg="add mod">
          <ac:chgData name="Tonje Lorem" userId="71044dc3-a9ce-4bdb-8fc6-131200281d53" providerId="ADAL" clId="{20E8A1EE-8318-4C8B-844F-983882467F79}" dt="2022-09-14T05:50:47.064" v="716" actId="14100"/>
          <ac:picMkLst>
            <pc:docMk/>
            <pc:sldMk cId="1758808702" sldId="282"/>
            <ac:picMk id="12" creationId="{7C8A4FC5-497B-4D1A-8701-640E43C6F2DD}"/>
          </ac:picMkLst>
        </pc:picChg>
        <pc:picChg chg="add mod">
          <ac:chgData name="Tonje Lorem" userId="71044dc3-a9ce-4bdb-8fc6-131200281d53" providerId="ADAL" clId="{20E8A1EE-8318-4C8B-844F-983882467F79}" dt="2022-09-14T05:46:04.936" v="682" actId="1076"/>
          <ac:picMkLst>
            <pc:docMk/>
            <pc:sldMk cId="1758808702" sldId="282"/>
            <ac:picMk id="14" creationId="{E7344F36-1050-427F-80CB-F1B471B7297E}"/>
          </ac:picMkLst>
        </pc:picChg>
        <pc:picChg chg="add mod">
          <ac:chgData name="Tonje Lorem" userId="71044dc3-a9ce-4bdb-8fc6-131200281d53" providerId="ADAL" clId="{20E8A1EE-8318-4C8B-844F-983882467F79}" dt="2022-09-14T05:49:11.576" v="685" actId="1076"/>
          <ac:picMkLst>
            <pc:docMk/>
            <pc:sldMk cId="1758808702" sldId="282"/>
            <ac:picMk id="15" creationId="{D101B4B4-8B49-49C5-9E21-F8FB22CCDDFB}"/>
          </ac:picMkLst>
        </pc:picChg>
        <pc:picChg chg="add del mod">
          <ac:chgData name="Tonje Lorem" userId="71044dc3-a9ce-4bdb-8fc6-131200281d53" providerId="ADAL" clId="{20E8A1EE-8318-4C8B-844F-983882467F79}" dt="2022-09-14T05:50:31.102" v="709" actId="478"/>
          <ac:picMkLst>
            <pc:docMk/>
            <pc:sldMk cId="1758808702" sldId="282"/>
            <ac:picMk id="20" creationId="{9ACDB40B-EE9A-4857-B8C4-2CCCD555F903}"/>
          </ac:picMkLst>
        </pc:picChg>
        <pc:picChg chg="add mod">
          <ac:chgData name="Tonje Lorem" userId="71044dc3-a9ce-4bdb-8fc6-131200281d53" providerId="ADAL" clId="{20E8A1EE-8318-4C8B-844F-983882467F79}" dt="2022-09-14T05:50:35.457" v="711" actId="14100"/>
          <ac:picMkLst>
            <pc:docMk/>
            <pc:sldMk cId="1758808702" sldId="282"/>
            <ac:picMk id="24" creationId="{28C9C791-241D-4F1C-9D43-8CC887C43446}"/>
          </ac:picMkLst>
        </pc:picChg>
        <pc:picChg chg="mod">
          <ac:chgData name="Tonje Lorem" userId="71044dc3-a9ce-4bdb-8fc6-131200281d53" providerId="ADAL" clId="{20E8A1EE-8318-4C8B-844F-983882467F79}" dt="2022-09-14T05:50:45.093" v="715" actId="14100"/>
          <ac:picMkLst>
            <pc:docMk/>
            <pc:sldMk cId="1758808702" sldId="282"/>
            <ac:picMk id="30" creationId="{00000000-0000-0000-0000-000000000000}"/>
          </ac:picMkLst>
        </pc:picChg>
        <pc:picChg chg="mod">
          <ac:chgData name="Tonje Lorem" userId="71044dc3-a9ce-4bdb-8fc6-131200281d53" providerId="ADAL" clId="{20E8A1EE-8318-4C8B-844F-983882467F79}" dt="2022-09-14T05:50:40.559" v="713" actId="14100"/>
          <ac:picMkLst>
            <pc:docMk/>
            <pc:sldMk cId="1758808702" sldId="282"/>
            <ac:picMk id="31" creationId="{00000000-0000-0000-0000-000000000000}"/>
          </ac:picMkLst>
        </pc:picChg>
        <pc:picChg chg="mod">
          <ac:chgData name="Tonje Lorem" userId="71044dc3-a9ce-4bdb-8fc6-131200281d53" providerId="ADAL" clId="{20E8A1EE-8318-4C8B-844F-983882467F79}" dt="2022-09-14T05:50:38.433" v="712" actId="14100"/>
          <ac:picMkLst>
            <pc:docMk/>
            <pc:sldMk cId="1758808702" sldId="282"/>
            <ac:picMk id="32" creationId="{00000000-0000-0000-0000-000000000000}"/>
          </ac:picMkLst>
        </pc:picChg>
        <pc:picChg chg="del">
          <ac:chgData name="Tonje Lorem" userId="71044dc3-a9ce-4bdb-8fc6-131200281d53" providerId="ADAL" clId="{20E8A1EE-8318-4C8B-844F-983882467F79}" dt="2022-09-14T05:45:49.091" v="677" actId="478"/>
          <ac:picMkLst>
            <pc:docMk/>
            <pc:sldMk cId="1758808702" sldId="282"/>
            <ac:picMk id="36" creationId="{00000000-0000-0000-0000-000000000000}"/>
          </ac:picMkLst>
        </pc:picChg>
        <pc:cxnChg chg="add mod">
          <ac:chgData name="Tonje Lorem" userId="71044dc3-a9ce-4bdb-8fc6-131200281d53" providerId="ADAL" clId="{20E8A1EE-8318-4C8B-844F-983882467F79}" dt="2022-09-14T05:45:35.621" v="674" actId="1076"/>
          <ac:cxnSpMkLst>
            <pc:docMk/>
            <pc:sldMk cId="1758808702" sldId="282"/>
            <ac:cxnSpMk id="22" creationId="{588B8015-D449-42FC-B928-B660D866B40A}"/>
          </ac:cxnSpMkLst>
        </pc:cxnChg>
        <pc:cxnChg chg="add mod">
          <ac:chgData name="Tonje Lorem" userId="71044dc3-a9ce-4bdb-8fc6-131200281d53" providerId="ADAL" clId="{20E8A1EE-8318-4C8B-844F-983882467F79}" dt="2022-09-14T05:49:45.158" v="692" actId="14100"/>
          <ac:cxnSpMkLst>
            <pc:docMk/>
            <pc:sldMk cId="1758808702" sldId="282"/>
            <ac:cxnSpMk id="28" creationId="{70DCAC1E-1888-4EFD-9670-3109FEDBF4DC}"/>
          </ac:cxnSpMkLst>
        </pc:cxnChg>
      </pc:sldChg>
      <pc:sldChg chg="new del">
        <pc:chgData name="Tonje Lorem" userId="71044dc3-a9ce-4bdb-8fc6-131200281d53" providerId="ADAL" clId="{20E8A1EE-8318-4C8B-844F-983882467F79}" dt="2022-09-14T05:21:51.001" v="14" actId="2696"/>
        <pc:sldMkLst>
          <pc:docMk/>
          <pc:sldMk cId="1790303040" sldId="283"/>
        </pc:sldMkLst>
      </pc:sldChg>
      <pc:sldChg chg="addSp delSp modSp new mod">
        <pc:chgData name="Tonje Lorem" userId="71044dc3-a9ce-4bdb-8fc6-131200281d53" providerId="ADAL" clId="{20E8A1EE-8318-4C8B-844F-983882467F79}" dt="2022-09-14T05:51:27.455" v="718" actId="20577"/>
        <pc:sldMkLst>
          <pc:docMk/>
          <pc:sldMk cId="1827420371" sldId="283"/>
        </pc:sldMkLst>
        <pc:spChg chg="add mod">
          <ac:chgData name="Tonje Lorem" userId="71044dc3-a9ce-4bdb-8fc6-131200281d53" providerId="ADAL" clId="{20E8A1EE-8318-4C8B-844F-983882467F79}" dt="2022-09-14T05:37:06.275" v="205" actId="20577"/>
          <ac:spMkLst>
            <pc:docMk/>
            <pc:sldMk cId="1827420371" sldId="283"/>
            <ac:spMk id="10" creationId="{636E4FE9-BBBA-412E-8D45-CC952736816E}"/>
          </ac:spMkLst>
        </pc:spChg>
        <pc:spChg chg="add mod">
          <ac:chgData name="Tonje Lorem" userId="71044dc3-a9ce-4bdb-8fc6-131200281d53" providerId="ADAL" clId="{20E8A1EE-8318-4C8B-844F-983882467F79}" dt="2022-09-14T05:51:27.455" v="718" actId="20577"/>
          <ac:spMkLst>
            <pc:docMk/>
            <pc:sldMk cId="1827420371" sldId="283"/>
            <ac:spMk id="11" creationId="{97A3E261-C416-4B12-B7E0-2F4395C412DC}"/>
          </ac:spMkLst>
        </pc:spChg>
        <pc:spChg chg="add mod">
          <ac:chgData name="Tonje Lorem" userId="71044dc3-a9ce-4bdb-8fc6-131200281d53" providerId="ADAL" clId="{20E8A1EE-8318-4C8B-844F-983882467F79}" dt="2022-09-14T05:42:36.464" v="664" actId="1076"/>
          <ac:spMkLst>
            <pc:docMk/>
            <pc:sldMk cId="1827420371" sldId="283"/>
            <ac:spMk id="12" creationId="{93FF198E-33F0-403B-985D-0AAD94550639}"/>
          </ac:spMkLst>
        </pc:spChg>
        <pc:picChg chg="add mod">
          <ac:chgData name="Tonje Lorem" userId="71044dc3-a9ce-4bdb-8fc6-131200281d53" providerId="ADAL" clId="{20E8A1EE-8318-4C8B-844F-983882467F79}" dt="2022-09-14T05:36:18.123" v="167" actId="1076"/>
          <ac:picMkLst>
            <pc:docMk/>
            <pc:sldMk cId="1827420371" sldId="283"/>
            <ac:picMk id="3" creationId="{90599ACB-4E54-44DF-AC69-483CB2558C21}"/>
          </ac:picMkLst>
        </pc:picChg>
        <pc:picChg chg="add mod">
          <ac:chgData name="Tonje Lorem" userId="71044dc3-a9ce-4bdb-8fc6-131200281d53" providerId="ADAL" clId="{20E8A1EE-8318-4C8B-844F-983882467F79}" dt="2022-09-14T05:36:25.775" v="170" actId="1076"/>
          <ac:picMkLst>
            <pc:docMk/>
            <pc:sldMk cId="1827420371" sldId="283"/>
            <ac:picMk id="5" creationId="{9824FC06-B917-47A1-BB6B-7E3BD0B6CE46}"/>
          </ac:picMkLst>
        </pc:picChg>
        <pc:picChg chg="add del mod">
          <ac:chgData name="Tonje Lorem" userId="71044dc3-a9ce-4bdb-8fc6-131200281d53" providerId="ADAL" clId="{20E8A1EE-8318-4C8B-844F-983882467F79}" dt="2022-09-14T05:35:54.315" v="164" actId="478"/>
          <ac:picMkLst>
            <pc:docMk/>
            <pc:sldMk cId="1827420371" sldId="283"/>
            <ac:picMk id="7" creationId="{53AA485D-8888-4FBA-BB7D-FB7D23C3E846}"/>
          </ac:picMkLst>
        </pc:picChg>
        <pc:picChg chg="add mod">
          <ac:chgData name="Tonje Lorem" userId="71044dc3-a9ce-4bdb-8fc6-131200281d53" providerId="ADAL" clId="{20E8A1EE-8318-4C8B-844F-983882467F79}" dt="2022-09-14T05:39:43.579" v="384" actId="1076"/>
          <ac:picMkLst>
            <pc:docMk/>
            <pc:sldMk cId="1827420371" sldId="283"/>
            <ac:picMk id="9" creationId="{E7015F8D-4A92-4D9A-98EB-2CCDC5CDFFAB}"/>
          </ac:picMkLst>
        </pc:picChg>
      </pc:sldChg>
      <pc:sldChg chg="addSp delSp modSp new del mod">
        <pc:chgData name="Tonje Lorem" userId="71044dc3-a9ce-4bdb-8fc6-131200281d53" providerId="ADAL" clId="{20E8A1EE-8318-4C8B-844F-983882467F79}" dt="2022-09-14T05:28:22.207" v="22" actId="47"/>
        <pc:sldMkLst>
          <pc:docMk/>
          <pc:sldMk cId="3526026604" sldId="283"/>
        </pc:sldMkLst>
        <pc:spChg chg="del">
          <ac:chgData name="Tonje Lorem" userId="71044dc3-a9ce-4bdb-8fc6-131200281d53" providerId="ADAL" clId="{20E8A1EE-8318-4C8B-844F-983882467F79}" dt="2022-09-14T05:28:05.308" v="16" actId="931"/>
          <ac:spMkLst>
            <pc:docMk/>
            <pc:sldMk cId="3526026604" sldId="283"/>
            <ac:spMk id="4" creationId="{5A2ABE85-AF98-445A-98B6-31DEDE0961FE}"/>
          </ac:spMkLst>
        </pc:spChg>
        <pc:spChg chg="add mod">
          <ac:chgData name="Tonje Lorem" userId="71044dc3-a9ce-4bdb-8fc6-131200281d53" providerId="ADAL" clId="{20E8A1EE-8318-4C8B-844F-983882467F79}" dt="2022-09-14T05:28:19.559" v="21" actId="478"/>
          <ac:spMkLst>
            <pc:docMk/>
            <pc:sldMk cId="3526026604" sldId="283"/>
            <ac:spMk id="11" creationId="{D63F254F-E268-420F-8B6C-61CE03FEAA91}"/>
          </ac:spMkLst>
        </pc:spChg>
        <pc:picChg chg="add del mod">
          <ac:chgData name="Tonje Lorem" userId="71044dc3-a9ce-4bdb-8fc6-131200281d53" providerId="ADAL" clId="{20E8A1EE-8318-4C8B-844F-983882467F79}" dt="2022-09-14T05:28:19.559" v="21" actId="478"/>
          <ac:picMkLst>
            <pc:docMk/>
            <pc:sldMk cId="3526026604" sldId="283"/>
            <ac:picMk id="9" creationId="{EBB401B9-267B-4831-9FD4-E36F5D95E94B}"/>
          </ac:picMkLst>
        </pc:picChg>
      </pc:sldChg>
    </pc:docChg>
  </pc:docChgLst>
</pc:chgInfo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81857B-8249-419A-9874-40D50F9FB5EF}" type="datetimeFigureOut">
              <a:rPr lang="nb-NO" smtClean="0"/>
              <a:t>27.02.2023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643DA88-B4E3-4457-9F46-44A4AB422E5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7605111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91435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828709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2743063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3657417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4571771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5486126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6400480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7314834" algn="l" defTabSz="1828709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313571F-599F-430A-82CB-BBD5705A8AE4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2422948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jpeg"/><Relationship Id="rId4" Type="http://schemas.openxmlformats.org/officeDocument/2006/relationships/image" Target="../media/image5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jpeg"/><Relationship Id="rId4" Type="http://schemas.openxmlformats.org/officeDocument/2006/relationships/image" Target="../media/image5.png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3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eg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2.jpeg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3.jpe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24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25.png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6.png"/><Relationship Id="rId5" Type="http://schemas.openxmlformats.org/officeDocument/2006/relationships/image" Target="../media/image32.jpeg"/><Relationship Id="rId4" Type="http://schemas.openxmlformats.org/officeDocument/2006/relationships/image" Target="../media/image31.jpeg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jpe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png"/><Relationship Id="rId4" Type="http://schemas.openxmlformats.org/officeDocument/2006/relationships/image" Target="../media/image32.jpeg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6.png"/><Relationship Id="rId4" Type="http://schemas.openxmlformats.org/officeDocument/2006/relationships/image" Target="../media/image35.jpeg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image" Target="../media/image36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39.jpeg"/><Relationship Id="rId5" Type="http://schemas.openxmlformats.org/officeDocument/2006/relationships/image" Target="../media/image12.png"/><Relationship Id="rId4" Type="http://schemas.openxmlformats.org/officeDocument/2006/relationships/image" Target="../media/image38.jpeg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40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png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image" Target="../media/image42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16.png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4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4.jpeg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5.jpeg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7.jpe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jpe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49.jpe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image" Target="../media/image50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53.png"/><Relationship Id="rId5" Type="http://schemas.openxmlformats.org/officeDocument/2006/relationships/image" Target="../media/image52.png"/><Relationship Id="rId4" Type="http://schemas.openxmlformats.org/officeDocument/2006/relationships/image" Target="../media/image12.png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mørkeblå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k 13">
            <a:extLst>
              <a:ext uri="{FF2B5EF4-FFF2-40B4-BE49-F238E27FC236}">
                <a16:creationId xmlns:a16="http://schemas.microsoft.com/office/drawing/2014/main" id="{42FFF11D-43B9-4665-98B1-72FB034560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25199" y="1017010"/>
            <a:ext cx="2522218" cy="692724"/>
          </a:xfrm>
          <a:prstGeom prst="rect">
            <a:avLst/>
          </a:prstGeom>
        </p:spPr>
      </p:pic>
      <p:sp>
        <p:nvSpPr>
          <p:cNvPr id="12" name="Linje to">
            <a:extLst>
              <a:ext uri="{FF2B5EF4-FFF2-40B4-BE49-F238E27FC236}">
                <a16:creationId xmlns:a16="http://schemas.microsoft.com/office/drawing/2014/main" id="{B6EAA066-F0AA-4EF2-996C-6404D77AF0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5513" y="4478454"/>
            <a:ext cx="15378112" cy="1169552"/>
          </a:xfrm>
        </p:spPr>
        <p:txBody>
          <a:bodyPr tIns="4680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linje 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5199" y="3412386"/>
            <a:ext cx="15379200" cy="1169552"/>
          </a:xfrm>
        </p:spPr>
        <p:txBody>
          <a:bodyPr tIns="46800" bIns="0" anchor="t" anchorCtr="0">
            <a:noAutofit/>
          </a:bodyPr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tittel</a:t>
            </a:r>
            <a:endParaRPr lang="en-US"/>
          </a:p>
        </p:txBody>
      </p:sp>
      <p:grpSp>
        <p:nvGrpSpPr>
          <p:cNvPr id="6" name="Stående form 7">
            <a:extLst>
              <a:ext uri="{FF2B5EF4-FFF2-40B4-BE49-F238E27FC236}">
                <a16:creationId xmlns:a16="http://schemas.microsoft.com/office/drawing/2014/main" id="{BD6836DC-10F4-4BDA-85FB-0AB85EDD5878}"/>
              </a:ext>
            </a:extLst>
          </p:cNvPr>
          <p:cNvGrpSpPr/>
          <p:nvPr/>
        </p:nvGrpSpPr>
        <p:grpSpPr>
          <a:xfrm>
            <a:off x="17524411" y="0"/>
            <a:ext cx="6858000" cy="13716000"/>
            <a:chOff x="17535986" y="0"/>
            <a:chExt cx="6858000" cy="13716000"/>
          </a:xfrm>
        </p:grpSpPr>
        <p:sp>
          <p:nvSpPr>
            <p:cNvPr id="7" name="bakgrunn">
              <a:extLst>
                <a:ext uri="{FF2B5EF4-FFF2-40B4-BE49-F238E27FC236}">
                  <a16:creationId xmlns:a16="http://schemas.microsoft.com/office/drawing/2014/main" id="{7B700173-06DB-46FE-9A3C-F181CDAE5143}"/>
                </a:ext>
              </a:extLst>
            </p:cNvPr>
            <p:cNvSpPr/>
            <p:nvPr/>
          </p:nvSpPr>
          <p:spPr>
            <a:xfrm>
              <a:off x="17535986" y="0"/>
              <a:ext cx="6858000" cy="13716000"/>
            </a:xfrm>
            <a:custGeom>
              <a:avLst/>
              <a:gdLst>
                <a:gd name="connsiteX0" fmla="*/ 0 w 6858000"/>
                <a:gd name="connsiteY0" fmla="*/ 0 h 13716000"/>
                <a:gd name="connsiteX1" fmla="*/ 6858000 w 6858000"/>
                <a:gd name="connsiteY1" fmla="*/ 0 h 13716000"/>
                <a:gd name="connsiteX2" fmla="*/ 6858000 w 6858000"/>
                <a:gd name="connsiteY2" fmla="*/ 13716000 h 13716000"/>
                <a:gd name="connsiteX3" fmla="*/ 0 w 6858000"/>
                <a:gd name="connsiteY3" fmla="*/ 137160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0" h="13716000">
                  <a:moveTo>
                    <a:pt x="0" y="0"/>
                  </a:moveTo>
                  <a:lnTo>
                    <a:pt x="6858000" y="0"/>
                  </a:lnTo>
                  <a:lnTo>
                    <a:pt x="6858000" y="13716000"/>
                  </a:lnTo>
                  <a:lnTo>
                    <a:pt x="0" y="13716000"/>
                  </a:lnTo>
                  <a:close/>
                </a:path>
              </a:pathLst>
            </a:custGeom>
            <a:solidFill>
              <a:srgbClr val="A0D2B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8" name="forgrunn">
              <a:extLst>
                <a:ext uri="{FF2B5EF4-FFF2-40B4-BE49-F238E27FC236}">
                  <a16:creationId xmlns:a16="http://schemas.microsoft.com/office/drawing/2014/main" id="{C44EDABC-D226-4186-BC4A-2386F72CBF4A}"/>
                </a:ext>
              </a:extLst>
            </p:cNvPr>
            <p:cNvSpPr/>
            <p:nvPr/>
          </p:nvSpPr>
          <p:spPr>
            <a:xfrm>
              <a:off x="17535986" y="0"/>
              <a:ext cx="6858000" cy="13716000"/>
            </a:xfrm>
            <a:custGeom>
              <a:avLst/>
              <a:gdLst>
                <a:gd name="connsiteX0" fmla="*/ 1371600 w 6858000"/>
                <a:gd name="connsiteY0" fmla="*/ 2743200 h 13716000"/>
                <a:gd name="connsiteX1" fmla="*/ 2743200 w 6858000"/>
                <a:gd name="connsiteY1" fmla="*/ 5486400 h 13716000"/>
                <a:gd name="connsiteX2" fmla="*/ 0 w 6858000"/>
                <a:gd name="connsiteY2" fmla="*/ 6858000 h 13716000"/>
                <a:gd name="connsiteX3" fmla="*/ 0 w 6858000"/>
                <a:gd name="connsiteY3" fmla="*/ 6858000 h 13716000"/>
                <a:gd name="connsiteX4" fmla="*/ 2743200 w 6858000"/>
                <a:gd name="connsiteY4" fmla="*/ 8229600 h 13716000"/>
                <a:gd name="connsiteX5" fmla="*/ 0 w 6858000"/>
                <a:gd name="connsiteY5" fmla="*/ 13716000 h 13716000"/>
                <a:gd name="connsiteX6" fmla="*/ 0 w 6858000"/>
                <a:gd name="connsiteY6" fmla="*/ 13716000 h 13716000"/>
                <a:gd name="connsiteX7" fmla="*/ 5486400 w 6858000"/>
                <a:gd name="connsiteY7" fmla="*/ 10972800 h 13716000"/>
                <a:gd name="connsiteX8" fmla="*/ 6858000 w 6858000"/>
                <a:gd name="connsiteY8" fmla="*/ 13666215 h 13716000"/>
                <a:gd name="connsiteX9" fmla="*/ 6858000 w 6858000"/>
                <a:gd name="connsiteY9" fmla="*/ 0 h 13716000"/>
                <a:gd name="connsiteX10" fmla="*/ 5486400 w 6858000"/>
                <a:gd name="connsiteY10" fmla="*/ 2743200 h 13716000"/>
                <a:gd name="connsiteX11" fmla="*/ 1371600 w 6858000"/>
                <a:gd name="connsiteY11" fmla="*/ 27432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58000" h="13716000">
                  <a:moveTo>
                    <a:pt x="1371600" y="2743200"/>
                  </a:moveTo>
                  <a:lnTo>
                    <a:pt x="2743200" y="5486400"/>
                  </a:lnTo>
                  <a:lnTo>
                    <a:pt x="0" y="6858000"/>
                  </a:lnTo>
                  <a:lnTo>
                    <a:pt x="0" y="6858000"/>
                  </a:lnTo>
                  <a:lnTo>
                    <a:pt x="2743200" y="8229600"/>
                  </a:lnTo>
                  <a:lnTo>
                    <a:pt x="0" y="13716000"/>
                  </a:lnTo>
                  <a:lnTo>
                    <a:pt x="0" y="13716000"/>
                  </a:lnTo>
                  <a:lnTo>
                    <a:pt x="5486400" y="10972800"/>
                  </a:lnTo>
                  <a:lnTo>
                    <a:pt x="6858000" y="13666215"/>
                  </a:lnTo>
                  <a:lnTo>
                    <a:pt x="6858000" y="0"/>
                  </a:lnTo>
                  <a:lnTo>
                    <a:pt x="5486400" y="2743200"/>
                  </a:lnTo>
                  <a:lnTo>
                    <a:pt x="1371600" y="2743200"/>
                  </a:lnTo>
                  <a:close/>
                </a:path>
              </a:pathLst>
            </a:custGeom>
            <a:solidFill>
              <a:srgbClr val="3C78B4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1930542926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1036" userDrawn="1">
          <p15:clr>
            <a:srgbClr val="9FCC3B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5" y="3981599"/>
            <a:ext cx="7028826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16" name="Plassholder for tekst 14">
            <a:extLst>
              <a:ext uri="{FF2B5EF4-FFF2-40B4-BE49-F238E27FC236}">
                <a16:creationId xmlns:a16="http://schemas.microsoft.com/office/drawing/2014/main" id="{E9230FA0-A588-4012-A4A2-42A4416B554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6428243" y="3981600"/>
            <a:ext cx="7028825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3C309F04-AB65-42BE-904A-B4B04507F4C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664575" y="2558257"/>
            <a:ext cx="7029450" cy="1084482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7000"/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14" name="Plassholder for tekst 4">
            <a:extLst>
              <a:ext uri="{FF2B5EF4-FFF2-40B4-BE49-F238E27FC236}">
                <a16:creationId xmlns:a16="http://schemas.microsoft.com/office/drawing/2014/main" id="{38A5BCB3-DFBC-4BD9-86EF-50A0A9C4B43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6404430" y="2558257"/>
            <a:ext cx="7029450" cy="1084482"/>
          </a:xfrm>
        </p:spPr>
        <p:txBody>
          <a:bodyPr>
            <a:noAutofit/>
          </a:bodyPr>
          <a:lstStyle>
            <a:lvl1pPr marL="0" indent="0">
              <a:lnSpc>
                <a:spcPct val="90000"/>
              </a:lnSpc>
              <a:buNone/>
              <a:defRPr sz="7000"/>
            </a:lvl1pPr>
          </a:lstStyle>
          <a:p>
            <a:pPr lvl="0"/>
            <a:r>
              <a:rPr lang="nb-NO"/>
              <a:t>Overskrift</a:t>
            </a:r>
          </a:p>
        </p:txBody>
      </p:sp>
      <p:sp>
        <p:nvSpPr>
          <p:cNvPr id="17" name="Plassholder for tekst 14">
            <a:extLst>
              <a:ext uri="{FF2B5EF4-FFF2-40B4-BE49-F238E27FC236}">
                <a16:creationId xmlns:a16="http://schemas.microsoft.com/office/drawing/2014/main" id="{5540DAC1-EF9C-4A04-A299-46B10375849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664575" y="3981600"/>
            <a:ext cx="7028825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4DDE5D03-D510-4404-BF4A-DF9538AF66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925345" y="2559050"/>
            <a:ext cx="7028826" cy="1084482"/>
          </a:xfrm>
        </p:spPr>
        <p:txBody>
          <a:bodyPr/>
          <a:lstStyle>
            <a:lvl1pPr>
              <a:defRPr/>
            </a:lvl1pPr>
          </a:lstStyle>
          <a:p>
            <a:r>
              <a:rPr lang="nb-NO"/>
              <a:t>Overskrift</a:t>
            </a:r>
          </a:p>
        </p:txBody>
      </p:sp>
      <p:sp>
        <p:nvSpPr>
          <p:cNvPr id="12" name="Plassholder for dato 11">
            <a:extLst>
              <a:ext uri="{FF2B5EF4-FFF2-40B4-BE49-F238E27FC236}">
                <a16:creationId xmlns:a16="http://schemas.microsoft.com/office/drawing/2014/main" id="{BF05A8D9-2000-4F21-99CC-3C2819C94582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3" name="Plassholder for bunntekst 12">
            <a:extLst>
              <a:ext uri="{FF2B5EF4-FFF2-40B4-BE49-F238E27FC236}">
                <a16:creationId xmlns:a16="http://schemas.microsoft.com/office/drawing/2014/main" id="{CDE6D385-33F8-4D6E-AAB7-C45A9CE5E60C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nb-NO" smtClean="0"/>
              <a:t>Tonje Lorem - Avdelingsleder</a:t>
            </a:r>
            <a:endParaRPr lang="nb-NO" dirty="0"/>
          </a:p>
        </p:txBody>
      </p:sp>
      <p:sp>
        <p:nvSpPr>
          <p:cNvPr id="15" name="Plassholder for lysbildenummer 14">
            <a:extLst>
              <a:ext uri="{FF2B5EF4-FFF2-40B4-BE49-F238E27FC236}">
                <a16:creationId xmlns:a16="http://schemas.microsoft.com/office/drawing/2014/main" id="{016909E5-4E8C-4B2E-A9C1-EC5D83E58BDB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25139901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F719827A-1CB1-42DB-87FB-BB4DF6CBEC9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0" name="Plassholder for dato 9">
            <a:extLst>
              <a:ext uri="{FF2B5EF4-FFF2-40B4-BE49-F238E27FC236}">
                <a16:creationId xmlns:a16="http://schemas.microsoft.com/office/drawing/2014/main" id="{559DBD45-109B-4229-B27A-5EAF78ADD02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1" name="Plassholder for bunntekst 10">
            <a:extLst>
              <a:ext uri="{FF2B5EF4-FFF2-40B4-BE49-F238E27FC236}">
                <a16:creationId xmlns:a16="http://schemas.microsoft.com/office/drawing/2014/main" id="{70FDC7D0-3B61-499D-BDB0-687F70935A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Tonje Lorem - Avdelingsleder</a:t>
            </a:r>
            <a:endParaRPr lang="nb-NO" dirty="0"/>
          </a:p>
        </p:txBody>
      </p:sp>
      <p:sp>
        <p:nvSpPr>
          <p:cNvPr id="12" name="Plassholder for lysbildenummer 11">
            <a:extLst>
              <a:ext uri="{FF2B5EF4-FFF2-40B4-BE49-F238E27FC236}">
                <a16:creationId xmlns:a16="http://schemas.microsoft.com/office/drawing/2014/main" id="{786DEB58-9292-44E6-B0CA-421D12109B5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341796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dato 4">
            <a:extLst>
              <a:ext uri="{FF2B5EF4-FFF2-40B4-BE49-F238E27FC236}">
                <a16:creationId xmlns:a16="http://schemas.microsoft.com/office/drawing/2014/main" id="{613F2E90-70AD-4B07-8844-9CC19EF6154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bunntekst 8">
            <a:extLst>
              <a:ext uri="{FF2B5EF4-FFF2-40B4-BE49-F238E27FC236}">
                <a16:creationId xmlns:a16="http://schemas.microsoft.com/office/drawing/2014/main" id="{08A1AEDB-AD06-4AD1-8A68-4C55CEE5C8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Tonje Lorem - Avdelingsleder</a:t>
            </a:r>
            <a:endParaRPr lang="nb-NO" dirty="0"/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95CC6AAF-62C3-4D78-8755-CAE05275EE1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06711323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telside grøn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199" y="3412386"/>
            <a:ext cx="15379200" cy="242352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9" name="Logo" hidden="1">
            <a:extLst>
              <a:ext uri="{FF2B5EF4-FFF2-40B4-BE49-F238E27FC236}">
                <a16:creationId xmlns:a16="http://schemas.microsoft.com/office/drawing/2014/main" id="{3F926A4D-E83D-43A3-A37C-C084C59067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314" y="1017010"/>
            <a:ext cx="1714272" cy="692724"/>
          </a:xfrm>
          <a:prstGeom prst="rect">
            <a:avLst/>
          </a:prstGeom>
        </p:spPr>
      </p:pic>
      <p:grpSp>
        <p:nvGrpSpPr>
          <p:cNvPr id="8" name="Liggende form 1">
            <a:extLst>
              <a:ext uri="{FF2B5EF4-FFF2-40B4-BE49-F238E27FC236}">
                <a16:creationId xmlns:a16="http://schemas.microsoft.com/office/drawing/2014/main" id="{A4707B15-42DA-4EFE-BB80-D19E7972D9FD}"/>
              </a:ext>
            </a:extLst>
          </p:cNvPr>
          <p:cNvGrpSpPr/>
          <p:nvPr/>
        </p:nvGrpSpPr>
        <p:grpSpPr>
          <a:xfrm>
            <a:off x="10669023" y="6859305"/>
            <a:ext cx="13713390" cy="6856695"/>
            <a:chOff x="10661652" y="6858000"/>
            <a:chExt cx="13713390" cy="6856695"/>
          </a:xfrm>
        </p:grpSpPr>
        <p:sp>
          <p:nvSpPr>
            <p:cNvPr id="10" name="bakgrunn">
              <a:extLst>
                <a:ext uri="{FF2B5EF4-FFF2-40B4-BE49-F238E27FC236}">
                  <a16:creationId xmlns:a16="http://schemas.microsoft.com/office/drawing/2014/main" id="{F8151C68-EF9E-42A3-81FF-F9942BF676DB}"/>
                </a:ext>
              </a:extLst>
            </p:cNvPr>
            <p:cNvSpPr/>
            <p:nvPr/>
          </p:nvSpPr>
          <p:spPr>
            <a:xfrm>
              <a:off x="10661652" y="6858000"/>
              <a:ext cx="13713390" cy="6856695"/>
            </a:xfrm>
            <a:custGeom>
              <a:avLst/>
              <a:gdLst>
                <a:gd name="connsiteX0" fmla="*/ 0 w 13713390"/>
                <a:gd name="connsiteY0" fmla="*/ 0 h 6856695"/>
                <a:gd name="connsiteX1" fmla="*/ 13713390 w 13713390"/>
                <a:gd name="connsiteY1" fmla="*/ 0 h 6856695"/>
                <a:gd name="connsiteX2" fmla="*/ 13713390 w 13713390"/>
                <a:gd name="connsiteY2" fmla="*/ 6856695 h 6856695"/>
                <a:gd name="connsiteX3" fmla="*/ 0 w 13713390"/>
                <a:gd name="connsiteY3" fmla="*/ 6856695 h 685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13390" h="6856695">
                  <a:moveTo>
                    <a:pt x="0" y="0"/>
                  </a:moveTo>
                  <a:lnTo>
                    <a:pt x="13713390" y="0"/>
                  </a:lnTo>
                  <a:lnTo>
                    <a:pt x="13713390" y="6856695"/>
                  </a:lnTo>
                  <a:lnTo>
                    <a:pt x="0" y="6856695"/>
                  </a:lnTo>
                  <a:close/>
                </a:path>
              </a:pathLst>
            </a:custGeom>
            <a:solidFill>
              <a:schemeClr val="accent2"/>
            </a:solidFill>
            <a:ln w="12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1" name="forgrunn">
              <a:extLst>
                <a:ext uri="{FF2B5EF4-FFF2-40B4-BE49-F238E27FC236}">
                  <a16:creationId xmlns:a16="http://schemas.microsoft.com/office/drawing/2014/main" id="{0D074997-3808-4F94-8E27-E4DEBC1BAD19}"/>
                </a:ext>
              </a:extLst>
            </p:cNvPr>
            <p:cNvSpPr/>
            <p:nvPr/>
          </p:nvSpPr>
          <p:spPr>
            <a:xfrm>
              <a:off x="10661652" y="6858000"/>
              <a:ext cx="13713390" cy="6856695"/>
            </a:xfrm>
            <a:custGeom>
              <a:avLst/>
              <a:gdLst>
                <a:gd name="connsiteX0" fmla="*/ 10285042 w 13713390"/>
                <a:gd name="connsiteY0" fmla="*/ 4199218 h 6856695"/>
                <a:gd name="connsiteX1" fmla="*/ 5485356 w 13713390"/>
                <a:gd name="connsiteY1" fmla="*/ 1371339 h 6856695"/>
                <a:gd name="connsiteX2" fmla="*/ 5485356 w 13713390"/>
                <a:gd name="connsiteY2" fmla="*/ 0 h 6856695"/>
                <a:gd name="connsiteX3" fmla="*/ 2742678 w 13713390"/>
                <a:gd name="connsiteY3" fmla="*/ 0 h 6856695"/>
                <a:gd name="connsiteX4" fmla="*/ 2742678 w 13713390"/>
                <a:gd name="connsiteY4" fmla="*/ 2105259 h 6856695"/>
                <a:gd name="connsiteX5" fmla="*/ 0 w 13713390"/>
                <a:gd name="connsiteY5" fmla="*/ 6856695 h 6856695"/>
                <a:gd name="connsiteX6" fmla="*/ 13713390 w 13713390"/>
                <a:gd name="connsiteY6" fmla="*/ 6856695 h 6856695"/>
                <a:gd name="connsiteX7" fmla="*/ 13713390 w 13713390"/>
                <a:gd name="connsiteY7" fmla="*/ 1544153 h 6856695"/>
                <a:gd name="connsiteX8" fmla="*/ 10285042 w 13713390"/>
                <a:gd name="connsiteY8" fmla="*/ 4199218 h 68566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</a:cxnLst>
              <a:rect l="l" t="t" r="r" b="b"/>
              <a:pathLst>
                <a:path w="13713390" h="6856695">
                  <a:moveTo>
                    <a:pt x="10285042" y="4199218"/>
                  </a:moveTo>
                  <a:cubicBezTo>
                    <a:pt x="9349358" y="2512852"/>
                    <a:pt x="7550745" y="1371339"/>
                    <a:pt x="5485356" y="1371339"/>
                  </a:cubicBezTo>
                  <a:lnTo>
                    <a:pt x="5485356" y="0"/>
                  </a:lnTo>
                  <a:lnTo>
                    <a:pt x="2742678" y="0"/>
                  </a:lnTo>
                  <a:lnTo>
                    <a:pt x="2742678" y="2105259"/>
                  </a:lnTo>
                  <a:cubicBezTo>
                    <a:pt x="1103166" y="3053769"/>
                    <a:pt x="0" y="4826352"/>
                    <a:pt x="0" y="6856695"/>
                  </a:cubicBezTo>
                  <a:lnTo>
                    <a:pt x="13713390" y="6856695"/>
                  </a:lnTo>
                  <a:lnTo>
                    <a:pt x="13713390" y="1544153"/>
                  </a:lnTo>
                  <a:cubicBezTo>
                    <a:pt x="12240470" y="1923430"/>
                    <a:pt x="11006265" y="2899493"/>
                    <a:pt x="10285042" y="4199218"/>
                  </a:cubicBezTo>
                  <a:close/>
                </a:path>
              </a:pathLst>
            </a:custGeom>
            <a:solidFill>
              <a:schemeClr val="accent3"/>
            </a:solidFill>
            <a:ln w="12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  <p:sp>
        <p:nvSpPr>
          <p:cNvPr id="16" name="Plassholder for bilde 15">
            <a:extLst>
              <a:ext uri="{FF2B5EF4-FFF2-40B4-BE49-F238E27FC236}">
                <a16:creationId xmlns:a16="http://schemas.microsoft.com/office/drawing/2014/main" id="{E4FF77EE-3490-440C-A3CD-A11542FDF47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6859305"/>
            <a:ext cx="10682288" cy="6856695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/>
        </p:spPr>
        <p:txBody>
          <a:bodyPr tIns="1620000" anchor="ctr" anchorCtr="1">
            <a:normAutofit/>
          </a:bodyPr>
          <a:lstStyle>
            <a:lvl1pPr marL="0" indent="0">
              <a:buNone/>
              <a:defRPr sz="3000">
                <a:solidFill>
                  <a:schemeClr val="tx2">
                    <a:lumMod val="75000"/>
                    <a:lumOff val="25000"/>
                  </a:schemeClr>
                </a:solidFill>
                <a:effectLst/>
                <a:highlight>
                  <a:srgbClr val="C0C0C0"/>
                </a:highlight>
              </a:defRPr>
            </a:lvl1pPr>
          </a:lstStyle>
          <a:p>
            <a:r>
              <a:rPr lang="en-US"/>
              <a:t>Dra inn et </a:t>
            </a:r>
            <a:r>
              <a:rPr lang="en-US" err="1"/>
              <a:t>bilde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trykk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nb-NO"/>
              <a:t> ikonet for å bytte. </a:t>
            </a:r>
            <a:br>
              <a:rPr lang="nb-NO"/>
            </a:br>
            <a:r>
              <a:rPr lang="nb-NO" err="1"/>
              <a:t>Justér</a:t>
            </a:r>
            <a:r>
              <a:rPr lang="nb-NO"/>
              <a:t> utsnitt med Beskjær-funksjonen på Bildeformat-fanen. </a:t>
            </a:r>
            <a:br>
              <a:rPr lang="nb-NO"/>
            </a:br>
            <a:r>
              <a:rPr lang="nb-NO"/>
              <a:t>Denne teksten vises ikke i presentasjonsmodus</a:t>
            </a:r>
          </a:p>
        </p:txBody>
      </p:sp>
    </p:spTree>
    <p:extLst>
      <p:ext uri="{BB962C8B-B14F-4D97-AF65-F5344CB8AC3E}">
        <p14:creationId xmlns:p14="http://schemas.microsoft.com/office/powerpoint/2010/main" val="314759591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 mørkeblå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k 9">
            <a:extLst>
              <a:ext uri="{FF2B5EF4-FFF2-40B4-BE49-F238E27FC236}">
                <a16:creationId xmlns:a16="http://schemas.microsoft.com/office/drawing/2014/main" id="{0D4F1DEC-AF00-49F5-9A96-F11927F3989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25199" y="1169410"/>
            <a:ext cx="2522218" cy="6927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199" y="3412386"/>
            <a:ext cx="15379200" cy="242352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9" name="Logo" hidden="1">
            <a:extLst>
              <a:ext uri="{FF2B5EF4-FFF2-40B4-BE49-F238E27FC236}">
                <a16:creationId xmlns:a16="http://schemas.microsoft.com/office/drawing/2014/main" id="{3F926A4D-E83D-43A3-A37C-C084C590672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314" y="1017010"/>
            <a:ext cx="1714272" cy="692724"/>
          </a:xfrm>
          <a:prstGeom prst="rect">
            <a:avLst/>
          </a:prstGeom>
        </p:spPr>
      </p:pic>
      <p:sp>
        <p:nvSpPr>
          <p:cNvPr id="16" name="Plassholder for bilde 15">
            <a:extLst>
              <a:ext uri="{FF2B5EF4-FFF2-40B4-BE49-F238E27FC236}">
                <a16:creationId xmlns:a16="http://schemas.microsoft.com/office/drawing/2014/main" id="{E4FF77EE-3490-440C-A3CD-A11542FDF47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6859305"/>
            <a:ext cx="10682288" cy="6856695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/>
        </p:spPr>
        <p:txBody>
          <a:bodyPr tIns="1620000" anchor="ctr" anchorCtr="1">
            <a:normAutofit/>
          </a:bodyPr>
          <a:lstStyle>
            <a:lvl1pPr marL="0" indent="0">
              <a:buNone/>
              <a:defRPr sz="3000">
                <a:solidFill>
                  <a:schemeClr val="tx2">
                    <a:lumMod val="75000"/>
                    <a:lumOff val="25000"/>
                  </a:schemeClr>
                </a:solidFill>
                <a:effectLst/>
                <a:highlight>
                  <a:srgbClr val="C0C0C0"/>
                </a:highlight>
              </a:defRPr>
            </a:lvl1pPr>
          </a:lstStyle>
          <a:p>
            <a:r>
              <a:rPr lang="en-US"/>
              <a:t>Dra inn et </a:t>
            </a:r>
            <a:r>
              <a:rPr lang="en-US" err="1"/>
              <a:t>bilde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trykk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nb-NO"/>
              <a:t> ikonet for å bytte. </a:t>
            </a:r>
            <a:br>
              <a:rPr lang="nb-NO"/>
            </a:br>
            <a:r>
              <a:rPr lang="nb-NO" err="1"/>
              <a:t>Justér</a:t>
            </a:r>
            <a:r>
              <a:rPr lang="nb-NO"/>
              <a:t> utsnitt med Beskjær-funksjonen på Bildeformat-fanen. </a:t>
            </a:r>
            <a:br>
              <a:rPr lang="nb-NO"/>
            </a:br>
            <a:r>
              <a:rPr lang="nb-NO"/>
              <a:t>Denne teksten vises ikke i presentasjonsmodus</a:t>
            </a:r>
          </a:p>
        </p:txBody>
      </p:sp>
      <p:grpSp>
        <p:nvGrpSpPr>
          <p:cNvPr id="12" name="Liggende form 4">
            <a:extLst>
              <a:ext uri="{FF2B5EF4-FFF2-40B4-BE49-F238E27FC236}">
                <a16:creationId xmlns:a16="http://schemas.microsoft.com/office/drawing/2014/main" id="{FA70E6D1-4DD1-4767-AB07-BA580E4968DE}"/>
              </a:ext>
            </a:extLst>
          </p:cNvPr>
          <p:cNvGrpSpPr/>
          <p:nvPr userDrawn="1"/>
        </p:nvGrpSpPr>
        <p:grpSpPr>
          <a:xfrm>
            <a:off x="10669023" y="6859305"/>
            <a:ext cx="13713389" cy="6856694"/>
            <a:chOff x="10669024" y="6859305"/>
            <a:chExt cx="13713389" cy="6856694"/>
          </a:xfrm>
          <a:solidFill>
            <a:schemeClr val="accent1"/>
          </a:solidFill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C6E1F081-C55C-4716-9F22-89110EE07E73}"/>
                </a:ext>
              </a:extLst>
            </p:cNvPr>
            <p:cNvSpPr/>
            <p:nvPr/>
          </p:nvSpPr>
          <p:spPr>
            <a:xfrm>
              <a:off x="10669024" y="6859305"/>
              <a:ext cx="13713389" cy="6856694"/>
            </a:xfrm>
            <a:custGeom>
              <a:avLst/>
              <a:gdLst>
                <a:gd name="connsiteX0" fmla="*/ 0 w 13713389"/>
                <a:gd name="connsiteY0" fmla="*/ 0 h 6856694"/>
                <a:gd name="connsiteX1" fmla="*/ 13713389 w 13713389"/>
                <a:gd name="connsiteY1" fmla="*/ 0 h 6856694"/>
                <a:gd name="connsiteX2" fmla="*/ 13713389 w 13713389"/>
                <a:gd name="connsiteY2" fmla="*/ 6856694 h 6856694"/>
                <a:gd name="connsiteX3" fmla="*/ 0 w 13713389"/>
                <a:gd name="connsiteY3" fmla="*/ 6856694 h 6856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3713389" h="6856694">
                  <a:moveTo>
                    <a:pt x="0" y="0"/>
                  </a:moveTo>
                  <a:lnTo>
                    <a:pt x="13713389" y="0"/>
                  </a:lnTo>
                  <a:lnTo>
                    <a:pt x="13713389" y="6856694"/>
                  </a:lnTo>
                  <a:lnTo>
                    <a:pt x="0" y="6856694"/>
                  </a:lnTo>
                  <a:close/>
                </a:path>
              </a:pathLst>
            </a:custGeom>
            <a:solidFill>
              <a:schemeClr val="accent1"/>
            </a:solidFill>
            <a:ln w="12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5361AB24-13A1-454B-ABC1-5AC98B995654}"/>
                </a:ext>
              </a:extLst>
            </p:cNvPr>
            <p:cNvSpPr/>
            <p:nvPr/>
          </p:nvSpPr>
          <p:spPr>
            <a:xfrm>
              <a:off x="10669024" y="6859305"/>
              <a:ext cx="13713389" cy="6856694"/>
            </a:xfrm>
            <a:custGeom>
              <a:avLst/>
              <a:gdLst>
                <a:gd name="connsiteX0" fmla="*/ 4114017 w 13713389"/>
                <a:gd name="connsiteY0" fmla="*/ 1371339 h 6856694"/>
                <a:gd name="connsiteX1" fmla="*/ 4114017 w 13713389"/>
                <a:gd name="connsiteY1" fmla="*/ 2742678 h 6856694"/>
                <a:gd name="connsiteX2" fmla="*/ 3291214 w 13713389"/>
                <a:gd name="connsiteY2" fmla="*/ 2742678 h 6856694"/>
                <a:gd name="connsiteX3" fmla="*/ 2742678 w 13713389"/>
                <a:gd name="connsiteY3" fmla="*/ 3291213 h 6856694"/>
                <a:gd name="connsiteX4" fmla="*/ 2331276 w 13713389"/>
                <a:gd name="connsiteY4" fmla="*/ 5485355 h 6856694"/>
                <a:gd name="connsiteX5" fmla="*/ 0 w 13713389"/>
                <a:gd name="connsiteY5" fmla="*/ 5485355 h 6856694"/>
                <a:gd name="connsiteX6" fmla="*/ 0 w 13713389"/>
                <a:gd name="connsiteY6" fmla="*/ 6856694 h 6856694"/>
                <a:gd name="connsiteX7" fmla="*/ 13713389 w 13713389"/>
                <a:gd name="connsiteY7" fmla="*/ 6856694 h 6856694"/>
                <a:gd name="connsiteX8" fmla="*/ 13713389 w 13713389"/>
                <a:gd name="connsiteY8" fmla="*/ 5485355 h 6856694"/>
                <a:gd name="connsiteX9" fmla="*/ 11382113 w 13713389"/>
                <a:gd name="connsiteY9" fmla="*/ 5485355 h 6856694"/>
                <a:gd name="connsiteX10" fmla="*/ 10970711 w 13713389"/>
                <a:gd name="connsiteY10" fmla="*/ 3291213 h 6856694"/>
                <a:gd name="connsiteX11" fmla="*/ 10422175 w 13713389"/>
                <a:gd name="connsiteY11" fmla="*/ 2742678 h 6856694"/>
                <a:gd name="connsiteX12" fmla="*/ 9599372 w 13713389"/>
                <a:gd name="connsiteY12" fmla="*/ 2742678 h 6856694"/>
                <a:gd name="connsiteX13" fmla="*/ 9599372 w 13713389"/>
                <a:gd name="connsiteY13" fmla="*/ 1371339 h 6856694"/>
                <a:gd name="connsiteX14" fmla="*/ 8228034 w 13713389"/>
                <a:gd name="connsiteY14" fmla="*/ 0 h 6856694"/>
                <a:gd name="connsiteX15" fmla="*/ 5485356 w 13713389"/>
                <a:gd name="connsiteY15" fmla="*/ 0 h 6856694"/>
                <a:gd name="connsiteX16" fmla="*/ 4114017 w 13713389"/>
                <a:gd name="connsiteY16" fmla="*/ 1371339 h 685669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13713389" h="6856694">
                  <a:moveTo>
                    <a:pt x="4114017" y="1371339"/>
                  </a:moveTo>
                  <a:lnTo>
                    <a:pt x="4114017" y="2742678"/>
                  </a:lnTo>
                  <a:lnTo>
                    <a:pt x="3291214" y="2742678"/>
                  </a:lnTo>
                  <a:cubicBezTo>
                    <a:pt x="2950156" y="2742678"/>
                    <a:pt x="2790929" y="2953458"/>
                    <a:pt x="2742678" y="3291213"/>
                  </a:cubicBezTo>
                  <a:lnTo>
                    <a:pt x="2331276" y="5485355"/>
                  </a:lnTo>
                  <a:lnTo>
                    <a:pt x="0" y="5485355"/>
                  </a:lnTo>
                  <a:lnTo>
                    <a:pt x="0" y="6856694"/>
                  </a:lnTo>
                  <a:lnTo>
                    <a:pt x="13713389" y="6856694"/>
                  </a:lnTo>
                  <a:lnTo>
                    <a:pt x="13713389" y="5485355"/>
                  </a:lnTo>
                  <a:lnTo>
                    <a:pt x="11382113" y="5485355"/>
                  </a:lnTo>
                  <a:lnTo>
                    <a:pt x="10970711" y="3291213"/>
                  </a:lnTo>
                  <a:cubicBezTo>
                    <a:pt x="10920810" y="2955108"/>
                    <a:pt x="10761836" y="2742678"/>
                    <a:pt x="10422175" y="2742678"/>
                  </a:cubicBezTo>
                  <a:lnTo>
                    <a:pt x="9599372" y="2742678"/>
                  </a:lnTo>
                  <a:lnTo>
                    <a:pt x="9599372" y="1371339"/>
                  </a:lnTo>
                  <a:cubicBezTo>
                    <a:pt x="9599372" y="613969"/>
                    <a:pt x="8985403" y="0"/>
                    <a:pt x="8228034" y="0"/>
                  </a:cubicBezTo>
                  <a:lnTo>
                    <a:pt x="5485356" y="0"/>
                  </a:lnTo>
                  <a:cubicBezTo>
                    <a:pt x="4727986" y="0"/>
                    <a:pt x="4114017" y="613969"/>
                    <a:pt x="4114017" y="1371339"/>
                  </a:cubicBezTo>
                  <a:close/>
                </a:path>
              </a:pathLst>
            </a:custGeom>
            <a:solidFill>
              <a:schemeClr val="accent5"/>
            </a:solidFill>
            <a:ln w="12691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271072431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 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Grafikk 9">
            <a:extLst>
              <a:ext uri="{FF2B5EF4-FFF2-40B4-BE49-F238E27FC236}">
                <a16:creationId xmlns:a16="http://schemas.microsoft.com/office/drawing/2014/main" id="{AD729CF4-7A00-401B-8990-F66A5AD1570D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25199" y="1169410"/>
            <a:ext cx="2522218" cy="6927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25199" y="3412386"/>
            <a:ext cx="15379200" cy="242352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en-US"/>
          </a:p>
        </p:txBody>
      </p:sp>
      <p:pic>
        <p:nvPicPr>
          <p:cNvPr id="9" name="Logo" hidden="1">
            <a:extLst>
              <a:ext uri="{FF2B5EF4-FFF2-40B4-BE49-F238E27FC236}">
                <a16:creationId xmlns:a16="http://schemas.microsoft.com/office/drawing/2014/main" id="{3F926A4D-E83D-43A3-A37C-C084C5906726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314" y="1017010"/>
            <a:ext cx="1714272" cy="692724"/>
          </a:xfrm>
          <a:prstGeom prst="rect">
            <a:avLst/>
          </a:prstGeom>
        </p:spPr>
      </p:pic>
      <p:sp>
        <p:nvSpPr>
          <p:cNvPr id="16" name="Plassholder for bilde 15">
            <a:extLst>
              <a:ext uri="{FF2B5EF4-FFF2-40B4-BE49-F238E27FC236}">
                <a16:creationId xmlns:a16="http://schemas.microsoft.com/office/drawing/2014/main" id="{E4FF77EE-3490-440C-A3CD-A11542FDF471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6859305"/>
            <a:ext cx="10682288" cy="6856695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  <a:effectLst/>
        </p:spPr>
        <p:txBody>
          <a:bodyPr tIns="1620000" anchor="ctr" anchorCtr="1">
            <a:normAutofit/>
          </a:bodyPr>
          <a:lstStyle>
            <a:lvl1pPr marL="0" indent="0">
              <a:buNone/>
              <a:defRPr sz="3000">
                <a:solidFill>
                  <a:schemeClr val="tx2">
                    <a:lumMod val="75000"/>
                    <a:lumOff val="25000"/>
                  </a:schemeClr>
                </a:solidFill>
                <a:effectLst/>
                <a:highlight>
                  <a:srgbClr val="C0C0C0"/>
                </a:highlight>
              </a:defRPr>
            </a:lvl1pPr>
          </a:lstStyle>
          <a:p>
            <a:r>
              <a:rPr lang="en-US"/>
              <a:t>Dra inn et </a:t>
            </a:r>
            <a:r>
              <a:rPr lang="en-US" err="1"/>
              <a:t>bilde</a:t>
            </a:r>
            <a:r>
              <a:rPr lang="en-US"/>
              <a:t> </a:t>
            </a:r>
            <a:r>
              <a:rPr lang="en-US" err="1"/>
              <a:t>eller</a:t>
            </a:r>
            <a:r>
              <a:rPr lang="en-US"/>
              <a:t> </a:t>
            </a:r>
            <a:r>
              <a:rPr lang="en-US" err="1"/>
              <a:t>trykk</a:t>
            </a:r>
            <a:r>
              <a:rPr lang="en-US"/>
              <a:t> </a:t>
            </a:r>
            <a:r>
              <a:rPr lang="en-US" err="1"/>
              <a:t>på</a:t>
            </a:r>
            <a:r>
              <a:rPr lang="nb-NO"/>
              <a:t> ikonet for å bytte. </a:t>
            </a:r>
            <a:br>
              <a:rPr lang="nb-NO"/>
            </a:br>
            <a:r>
              <a:rPr lang="nb-NO" err="1"/>
              <a:t>Justér</a:t>
            </a:r>
            <a:r>
              <a:rPr lang="nb-NO"/>
              <a:t> utsnitt med Beskjær-funksjonen på Bildeformat-fanen. </a:t>
            </a:r>
            <a:br>
              <a:rPr lang="nb-NO"/>
            </a:br>
            <a:r>
              <a:rPr lang="nb-NO"/>
              <a:t>Denne teksten vises ikke i presentasjonsmodus</a:t>
            </a:r>
          </a:p>
        </p:txBody>
      </p:sp>
      <p:grpSp>
        <p:nvGrpSpPr>
          <p:cNvPr id="12" name="Stående form 7">
            <a:extLst>
              <a:ext uri="{FF2B5EF4-FFF2-40B4-BE49-F238E27FC236}">
                <a16:creationId xmlns:a16="http://schemas.microsoft.com/office/drawing/2014/main" id="{0B100AB0-C6E9-4ACC-B698-908B03EB0E50}"/>
              </a:ext>
            </a:extLst>
          </p:cNvPr>
          <p:cNvGrpSpPr/>
          <p:nvPr userDrawn="1"/>
        </p:nvGrpSpPr>
        <p:grpSpPr>
          <a:xfrm rot="5400000">
            <a:off x="14095413" y="3429000"/>
            <a:ext cx="6858000" cy="13716000"/>
            <a:chOff x="17535986" y="0"/>
            <a:chExt cx="6858000" cy="13716000"/>
          </a:xfrm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9526D040-5D71-4075-A231-A9829EC5E261}"/>
                </a:ext>
              </a:extLst>
            </p:cNvPr>
            <p:cNvSpPr/>
            <p:nvPr/>
          </p:nvSpPr>
          <p:spPr>
            <a:xfrm>
              <a:off x="17535986" y="0"/>
              <a:ext cx="6858000" cy="13716000"/>
            </a:xfrm>
            <a:custGeom>
              <a:avLst/>
              <a:gdLst>
                <a:gd name="connsiteX0" fmla="*/ 0 w 6858000"/>
                <a:gd name="connsiteY0" fmla="*/ 0 h 13716000"/>
                <a:gd name="connsiteX1" fmla="*/ 6858000 w 6858000"/>
                <a:gd name="connsiteY1" fmla="*/ 0 h 13716000"/>
                <a:gd name="connsiteX2" fmla="*/ 6858000 w 6858000"/>
                <a:gd name="connsiteY2" fmla="*/ 13716000 h 13716000"/>
                <a:gd name="connsiteX3" fmla="*/ 0 w 6858000"/>
                <a:gd name="connsiteY3" fmla="*/ 137160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0" h="13716000">
                  <a:moveTo>
                    <a:pt x="0" y="0"/>
                  </a:moveTo>
                  <a:lnTo>
                    <a:pt x="6858000" y="0"/>
                  </a:lnTo>
                  <a:lnTo>
                    <a:pt x="6858000" y="13716000"/>
                  </a:lnTo>
                  <a:lnTo>
                    <a:pt x="0" y="13716000"/>
                  </a:ln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B2053F79-A72B-4C26-86D2-37DCE52C407D}"/>
                </a:ext>
              </a:extLst>
            </p:cNvPr>
            <p:cNvSpPr/>
            <p:nvPr/>
          </p:nvSpPr>
          <p:spPr>
            <a:xfrm>
              <a:off x="17535986" y="0"/>
              <a:ext cx="6858000" cy="13716000"/>
            </a:xfrm>
            <a:custGeom>
              <a:avLst/>
              <a:gdLst>
                <a:gd name="connsiteX0" fmla="*/ 1371600 w 6858000"/>
                <a:gd name="connsiteY0" fmla="*/ 2743200 h 13716000"/>
                <a:gd name="connsiteX1" fmla="*/ 2743200 w 6858000"/>
                <a:gd name="connsiteY1" fmla="*/ 5486400 h 13716000"/>
                <a:gd name="connsiteX2" fmla="*/ 0 w 6858000"/>
                <a:gd name="connsiteY2" fmla="*/ 6858000 h 13716000"/>
                <a:gd name="connsiteX3" fmla="*/ 0 w 6858000"/>
                <a:gd name="connsiteY3" fmla="*/ 6858000 h 13716000"/>
                <a:gd name="connsiteX4" fmla="*/ 2743200 w 6858000"/>
                <a:gd name="connsiteY4" fmla="*/ 8229600 h 13716000"/>
                <a:gd name="connsiteX5" fmla="*/ 0 w 6858000"/>
                <a:gd name="connsiteY5" fmla="*/ 13716000 h 13716000"/>
                <a:gd name="connsiteX6" fmla="*/ 0 w 6858000"/>
                <a:gd name="connsiteY6" fmla="*/ 13716000 h 13716000"/>
                <a:gd name="connsiteX7" fmla="*/ 5486400 w 6858000"/>
                <a:gd name="connsiteY7" fmla="*/ 10972800 h 13716000"/>
                <a:gd name="connsiteX8" fmla="*/ 6858000 w 6858000"/>
                <a:gd name="connsiteY8" fmla="*/ 13666215 h 13716000"/>
                <a:gd name="connsiteX9" fmla="*/ 6858000 w 6858000"/>
                <a:gd name="connsiteY9" fmla="*/ 0 h 13716000"/>
                <a:gd name="connsiteX10" fmla="*/ 5486400 w 6858000"/>
                <a:gd name="connsiteY10" fmla="*/ 2743200 h 13716000"/>
                <a:gd name="connsiteX11" fmla="*/ 1371600 w 6858000"/>
                <a:gd name="connsiteY11" fmla="*/ 27432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6858000" h="13716000">
                  <a:moveTo>
                    <a:pt x="1371600" y="2743200"/>
                  </a:moveTo>
                  <a:lnTo>
                    <a:pt x="2743200" y="5486400"/>
                  </a:lnTo>
                  <a:lnTo>
                    <a:pt x="0" y="6858000"/>
                  </a:lnTo>
                  <a:lnTo>
                    <a:pt x="0" y="6858000"/>
                  </a:lnTo>
                  <a:lnTo>
                    <a:pt x="2743200" y="8229600"/>
                  </a:lnTo>
                  <a:lnTo>
                    <a:pt x="0" y="13716000"/>
                  </a:lnTo>
                  <a:lnTo>
                    <a:pt x="0" y="13716000"/>
                  </a:lnTo>
                  <a:lnTo>
                    <a:pt x="5486400" y="10972800"/>
                  </a:lnTo>
                  <a:lnTo>
                    <a:pt x="6858000" y="13666215"/>
                  </a:lnTo>
                  <a:lnTo>
                    <a:pt x="6858000" y="0"/>
                  </a:lnTo>
                  <a:lnTo>
                    <a:pt x="5486400" y="2743200"/>
                  </a:lnTo>
                  <a:lnTo>
                    <a:pt x="1371600" y="2743200"/>
                  </a:ln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</p:spTree>
    <p:extLst>
      <p:ext uri="{BB962C8B-B14F-4D97-AF65-F5344CB8AC3E}">
        <p14:creationId xmlns:p14="http://schemas.microsoft.com/office/powerpoint/2010/main" val="2266672351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vslutning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Grafikk 3">
            <a:extLst>
              <a:ext uri="{FF2B5EF4-FFF2-40B4-BE49-F238E27FC236}">
                <a16:creationId xmlns:a16="http://schemas.microsoft.com/office/drawing/2014/main" id="{B0C8DC78-72E8-4A17-AEF7-1982FBFB4B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25199" y="1017010"/>
            <a:ext cx="2522218" cy="6927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5199" y="3412386"/>
            <a:ext cx="15379200" cy="2423527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skrive inn avslutning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2890233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103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BA433FB-6E3F-4D69-8483-09A36F5780A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64A716A5-F8C8-45A8-820A-92EF855ADE6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5BE96FA-99F6-4BFF-8EC7-1EDDFF9F20CA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14088F38-B4A4-4975-B8CF-DE892AA17345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nb-NO" smtClean="0"/>
              <a:t>Tonje Lorem - Avdelingsled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1875597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gendefiner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Logo&#10;&#10;Description automatically generated with medium confidence">
            <a:extLst>
              <a:ext uri="{FF2B5EF4-FFF2-40B4-BE49-F238E27FC236}">
                <a16:creationId xmlns:a16="http://schemas.microsoft.com/office/drawing/2014/main" id="{4BB8F079-48E7-D04E-8105-71ABB355310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0062" y="-1469036"/>
            <a:ext cx="5040164" cy="5040492"/>
          </a:xfrm>
          <a:prstGeom prst="rect">
            <a:avLst/>
          </a:prstGeom>
        </p:spPr>
      </p:pic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DC98E4FE-D119-7748-97D3-E13D1AEE883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2191206" y="0"/>
            <a:ext cx="12191207" cy="13716000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NO"/>
              <a:t>Bytt bilde her</a:t>
            </a:r>
          </a:p>
        </p:txBody>
      </p:sp>
    </p:spTree>
    <p:extLst>
      <p:ext uri="{BB962C8B-B14F-4D97-AF65-F5344CB8AC3E}">
        <p14:creationId xmlns:p14="http://schemas.microsoft.com/office/powerpoint/2010/main" val="411020080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m Lillestrø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064957A3-5676-EB40-B421-021A4EA3233B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512638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lysblå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k 13">
            <a:extLst>
              <a:ext uri="{FF2B5EF4-FFF2-40B4-BE49-F238E27FC236}">
                <a16:creationId xmlns:a16="http://schemas.microsoft.com/office/drawing/2014/main" id="{42FFF11D-43B9-4665-98B1-72FB0345605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xmlns="" r:embed="rId3"/>
              </a:ext>
            </a:extLst>
          </a:blip>
          <a:stretch>
            <a:fillRect/>
          </a:stretch>
        </p:blipFill>
        <p:spPr>
          <a:xfrm>
            <a:off x="925199" y="1017010"/>
            <a:ext cx="2522218" cy="692724"/>
          </a:xfrm>
          <a:prstGeom prst="rect">
            <a:avLst/>
          </a:prstGeom>
        </p:spPr>
      </p:pic>
      <p:sp>
        <p:nvSpPr>
          <p:cNvPr id="12" name="Linje to">
            <a:extLst>
              <a:ext uri="{FF2B5EF4-FFF2-40B4-BE49-F238E27FC236}">
                <a16:creationId xmlns:a16="http://schemas.microsoft.com/office/drawing/2014/main" id="{B6EAA066-F0AA-4EF2-996C-6404D77AF0C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5513" y="4478454"/>
            <a:ext cx="15378112" cy="1169552"/>
          </a:xfrm>
        </p:spPr>
        <p:txBody>
          <a:bodyPr tIns="4680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linje to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5199" y="3412386"/>
            <a:ext cx="15379200" cy="1169552"/>
          </a:xfrm>
        </p:spPr>
        <p:txBody>
          <a:bodyPr tIns="46800" bIns="0" anchor="t" anchorCtr="0">
            <a:noAutofit/>
          </a:bodyPr>
          <a:lstStyle>
            <a:lvl1pPr algn="l">
              <a:lnSpc>
                <a:spcPct val="100000"/>
              </a:lnSpc>
              <a:defRPr sz="7000">
                <a:solidFill>
                  <a:schemeClr val="bg1"/>
                </a:solidFill>
              </a:defRPr>
            </a:lvl1pPr>
          </a:lstStyle>
          <a:p>
            <a:r>
              <a:rPr lang="nb-NO"/>
              <a:t>Klikk for å legge til tittel</a:t>
            </a:r>
            <a:endParaRPr lang="en-US"/>
          </a:p>
        </p:txBody>
      </p:sp>
      <p:sp>
        <p:nvSpPr>
          <p:cNvPr id="7" name="bakgrunn">
            <a:extLst>
              <a:ext uri="{FF2B5EF4-FFF2-40B4-BE49-F238E27FC236}">
                <a16:creationId xmlns:a16="http://schemas.microsoft.com/office/drawing/2014/main" id="{7B700173-06DB-46FE-9A3C-F181CDAE5143}"/>
              </a:ext>
            </a:extLst>
          </p:cNvPr>
          <p:cNvSpPr/>
          <p:nvPr/>
        </p:nvSpPr>
        <p:spPr>
          <a:xfrm>
            <a:off x="17524411" y="0"/>
            <a:ext cx="6858000" cy="13716000"/>
          </a:xfrm>
          <a:custGeom>
            <a:avLst/>
            <a:gdLst>
              <a:gd name="connsiteX0" fmla="*/ 0 w 6858000"/>
              <a:gd name="connsiteY0" fmla="*/ 0 h 13716000"/>
              <a:gd name="connsiteX1" fmla="*/ 6858000 w 6858000"/>
              <a:gd name="connsiteY1" fmla="*/ 0 h 13716000"/>
              <a:gd name="connsiteX2" fmla="*/ 6858000 w 6858000"/>
              <a:gd name="connsiteY2" fmla="*/ 13716000 h 13716000"/>
              <a:gd name="connsiteX3" fmla="*/ 0 w 6858000"/>
              <a:gd name="connsiteY3" fmla="*/ 137160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858000" h="13716000">
                <a:moveTo>
                  <a:pt x="0" y="0"/>
                </a:moveTo>
                <a:lnTo>
                  <a:pt x="6858000" y="0"/>
                </a:lnTo>
                <a:lnTo>
                  <a:pt x="6858000" y="13716000"/>
                </a:lnTo>
                <a:lnTo>
                  <a:pt x="0" y="13716000"/>
                </a:lnTo>
                <a:close/>
              </a:path>
            </a:pathLst>
          </a:custGeom>
          <a:solidFill>
            <a:srgbClr val="A0D2B4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nb-NO"/>
          </a:p>
        </p:txBody>
      </p:sp>
      <p:pic>
        <p:nvPicPr>
          <p:cNvPr id="9" name="Bilde 8" descr="Et bilde som inneholder tekst, visittkort&#10;&#10;Automatisk generert beskrivelse">
            <a:extLst>
              <a:ext uri="{FF2B5EF4-FFF2-40B4-BE49-F238E27FC236}">
                <a16:creationId xmlns:a16="http://schemas.microsoft.com/office/drawing/2014/main" id="{3F53CC38-FFA2-4FD0-B8F1-8C648657924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06" y="0"/>
            <a:ext cx="6858000" cy="13716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769380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1036">
          <p15:clr>
            <a:srgbClr val="9FCC3B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gitalisering_2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DF1B926D-E702-C448-81E2-7A099B53F97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8782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ultu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0101AC46-6097-5E44-9D73-7BD5284B4CB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69973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e og mestr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5FFD820D-0329-1E4E-8A7D-E142AA7A7285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26543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n Facts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&#10;&#10;Description automatically generated with medium confidence">
            <a:extLst>
              <a:ext uri="{FF2B5EF4-FFF2-40B4-BE49-F238E27FC236}">
                <a16:creationId xmlns:a16="http://schemas.microsoft.com/office/drawing/2014/main" id="{E745503B-0BAE-2247-BEDA-B580727482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34725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pveks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&#10;&#10;Description automatically generated with medium confidence">
            <a:extLst>
              <a:ext uri="{FF2B5EF4-FFF2-40B4-BE49-F238E27FC236}">
                <a16:creationId xmlns:a16="http://schemas.microsoft.com/office/drawing/2014/main" id="{E745503B-0BAE-2247-BEDA-B580727482C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84126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yen Lillestrøm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 descr="Logo&#10;&#10;Description automatically generated with medium confidence">
            <a:extLst>
              <a:ext uri="{FF2B5EF4-FFF2-40B4-BE49-F238E27FC236}">
                <a16:creationId xmlns:a16="http://schemas.microsoft.com/office/drawing/2014/main" id="{E203DE8A-C814-BE4F-A786-C8AC6F74C4D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1062000"/>
            <a:ext cx="3599766" cy="3600000"/>
          </a:xfrm>
          <a:prstGeom prst="rect">
            <a:avLst/>
          </a:prstGeom>
          <a:effectLst>
            <a:glow rad="1130300">
              <a:srgbClr val="000000">
                <a:alpha val="51000"/>
              </a:srgbClr>
            </a:glow>
          </a:effectLst>
        </p:spPr>
      </p:pic>
    </p:spTree>
    <p:extLst>
      <p:ext uri="{BB962C8B-B14F-4D97-AF65-F5344CB8AC3E}">
        <p14:creationId xmlns:p14="http://schemas.microsoft.com/office/powerpoint/2010/main" val="90885614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ærin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Logo&#10;&#10;Description automatically generated with medium confidence">
            <a:extLst>
              <a:ext uri="{FF2B5EF4-FFF2-40B4-BE49-F238E27FC236}">
                <a16:creationId xmlns:a16="http://schemas.microsoft.com/office/drawing/2014/main" id="{1A10A8AD-5C4F-984C-B71A-42EC8383A42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1062000"/>
            <a:ext cx="3599766" cy="3600000"/>
          </a:xfrm>
          <a:prstGeom prst="rect">
            <a:avLst/>
          </a:prstGeom>
          <a:effectLst>
            <a:glow rad="1130300">
              <a:srgbClr val="000000">
                <a:alpha val="51000"/>
              </a:srgbClr>
            </a:glow>
          </a:effectLst>
        </p:spPr>
      </p:pic>
    </p:spTree>
    <p:extLst>
      <p:ext uri="{BB962C8B-B14F-4D97-AF65-F5344CB8AC3E}">
        <p14:creationId xmlns:p14="http://schemas.microsoft.com/office/powerpoint/2010/main" val="134605047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rt">
    <p:bg>
      <p:bgPr>
        <a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&#10;&#10;Description automatically generated with medium confidence">
            <a:extLst>
              <a:ext uri="{FF2B5EF4-FFF2-40B4-BE49-F238E27FC236}">
                <a16:creationId xmlns:a16="http://schemas.microsoft.com/office/drawing/2014/main" id="{0EA1B118-16B1-AD4D-B67C-A0DC93817B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045F7E0-EFD0-F34B-ADB0-85BEF2D43B7F}"/>
              </a:ext>
            </a:extLst>
          </p:cNvPr>
          <p:cNvSpPr/>
          <p:nvPr userDrawn="1"/>
        </p:nvSpPr>
        <p:spPr>
          <a:xfrm>
            <a:off x="5279521" y="1989236"/>
            <a:ext cx="4129053" cy="18927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F31890D-BDCD-504A-8744-F2B059BEF50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217958" y="1989236"/>
            <a:ext cx="4061566" cy="1892796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NO"/>
              <a:t>Bytt bild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11874A4-9412-D441-9D23-63209BFCFB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58153" y="2681718"/>
            <a:ext cx="3067134" cy="507831"/>
          </a:xfrm>
        </p:spPr>
        <p:txBody>
          <a:bodyPr anchor="ctr" anchorCtr="0">
            <a:spAutoFit/>
          </a:bodyPr>
          <a:lstStyle>
            <a:lvl1pPr marL="0" indent="0" algn="l">
              <a:buNone/>
              <a:defRPr sz="3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Sted</a:t>
            </a:r>
            <a:r>
              <a:rPr lang="en-GB"/>
              <a:t> her</a:t>
            </a:r>
            <a:endParaRPr lang="en-NO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7F52D1B-013A-5B47-9D9B-165A4FDAD5B3}"/>
              </a:ext>
            </a:extLst>
          </p:cNvPr>
          <p:cNvSpPr/>
          <p:nvPr userDrawn="1"/>
        </p:nvSpPr>
        <p:spPr>
          <a:xfrm>
            <a:off x="5279521" y="4205190"/>
            <a:ext cx="4129053" cy="18927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220702F8-5A27-A74C-8435-61A65E17566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17958" y="4205190"/>
            <a:ext cx="4061566" cy="1892796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NO"/>
              <a:t>Bytt bild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B74BA815-7C99-9444-9F63-E1CC96E95E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8153" y="4897672"/>
            <a:ext cx="3067134" cy="507831"/>
          </a:xfrm>
        </p:spPr>
        <p:txBody>
          <a:bodyPr anchor="ctr" anchorCtr="0">
            <a:spAutoFit/>
          </a:bodyPr>
          <a:lstStyle>
            <a:lvl1pPr marL="0" indent="0" algn="l">
              <a:buNone/>
              <a:defRPr sz="3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Sted</a:t>
            </a:r>
            <a:r>
              <a:rPr lang="en-GB"/>
              <a:t> her</a:t>
            </a:r>
            <a:endParaRPr lang="en-NO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07AC16-CD07-4845-A424-909523FBC554}"/>
              </a:ext>
            </a:extLst>
          </p:cNvPr>
          <p:cNvSpPr/>
          <p:nvPr userDrawn="1"/>
        </p:nvSpPr>
        <p:spPr>
          <a:xfrm>
            <a:off x="5279521" y="6395830"/>
            <a:ext cx="4129053" cy="18927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2066DD67-125F-0F4F-A969-B4CBD3D158A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217958" y="6395830"/>
            <a:ext cx="4061566" cy="1892796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NO"/>
              <a:t>Bytt bild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C410607-A0E4-2542-9676-C5B00415B3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58153" y="7088312"/>
            <a:ext cx="3067134" cy="507831"/>
          </a:xfrm>
        </p:spPr>
        <p:txBody>
          <a:bodyPr anchor="ctr" anchorCtr="0">
            <a:spAutoFit/>
          </a:bodyPr>
          <a:lstStyle>
            <a:lvl1pPr marL="0" indent="0" algn="l">
              <a:buNone/>
              <a:defRPr sz="3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Sted</a:t>
            </a:r>
            <a:r>
              <a:rPr lang="en-GB"/>
              <a:t> her</a:t>
            </a:r>
            <a:endParaRPr lang="en-NO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A968382-4C81-2F41-AF8E-C2216FFD58C8}"/>
              </a:ext>
            </a:extLst>
          </p:cNvPr>
          <p:cNvSpPr/>
          <p:nvPr userDrawn="1"/>
        </p:nvSpPr>
        <p:spPr>
          <a:xfrm>
            <a:off x="5279521" y="8587488"/>
            <a:ext cx="4129053" cy="18927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33" name="Picture Placeholder 7">
            <a:extLst>
              <a:ext uri="{FF2B5EF4-FFF2-40B4-BE49-F238E27FC236}">
                <a16:creationId xmlns:a16="http://schemas.microsoft.com/office/drawing/2014/main" id="{1A486236-7C20-BC41-970C-9E4C53C0B75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217958" y="8587488"/>
            <a:ext cx="4061566" cy="1892796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NO"/>
              <a:t>Bytt bilde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0DBB6CC4-7C68-1A4A-B08C-B0155103966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58153" y="9279970"/>
            <a:ext cx="3067134" cy="507831"/>
          </a:xfrm>
        </p:spPr>
        <p:txBody>
          <a:bodyPr anchor="ctr" anchorCtr="0">
            <a:spAutoFit/>
          </a:bodyPr>
          <a:lstStyle>
            <a:lvl1pPr marL="0" indent="0" algn="l">
              <a:buNone/>
              <a:defRPr sz="3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Sted</a:t>
            </a:r>
            <a:r>
              <a:rPr lang="en-GB"/>
              <a:t> her</a:t>
            </a:r>
            <a:endParaRPr lang="en-NO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4FE3ECC-BAEF-9145-BC9B-782560EBC331}"/>
              </a:ext>
            </a:extLst>
          </p:cNvPr>
          <p:cNvSpPr/>
          <p:nvPr userDrawn="1"/>
        </p:nvSpPr>
        <p:spPr>
          <a:xfrm>
            <a:off x="5279521" y="10764630"/>
            <a:ext cx="4129053" cy="18927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0236C5ED-FD03-9645-B729-8995D6DDD2D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217958" y="10764630"/>
            <a:ext cx="4061566" cy="1892796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NO"/>
              <a:t>Bytt bilde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C170160D-0E59-6247-8EF0-F9BEA22BA5A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58153" y="11457112"/>
            <a:ext cx="3067134" cy="507831"/>
          </a:xfrm>
        </p:spPr>
        <p:txBody>
          <a:bodyPr anchor="ctr" anchorCtr="0">
            <a:spAutoFit/>
          </a:bodyPr>
          <a:lstStyle>
            <a:lvl1pPr marL="0" indent="0" algn="l">
              <a:buNone/>
              <a:defRPr sz="3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Sted</a:t>
            </a:r>
            <a:r>
              <a:rPr lang="en-GB"/>
              <a:t> her</a:t>
            </a:r>
            <a:endParaRPr lang="en-NO"/>
          </a:p>
        </p:txBody>
      </p:sp>
      <p:cxnSp>
        <p:nvCxnSpPr>
          <p:cNvPr id="59" name="Straight Connector 58">
            <a:extLst>
              <a:ext uri="{FF2B5EF4-FFF2-40B4-BE49-F238E27FC236}">
                <a16:creationId xmlns:a16="http://schemas.microsoft.com/office/drawing/2014/main" id="{A774BDBE-1D7A-8645-BEC9-034F550A0FF2}"/>
              </a:ext>
            </a:extLst>
          </p:cNvPr>
          <p:cNvCxnSpPr>
            <a:cxnSpLocks/>
          </p:cNvCxnSpPr>
          <p:nvPr userDrawn="1"/>
        </p:nvCxnSpPr>
        <p:spPr>
          <a:xfrm>
            <a:off x="8966956" y="2911968"/>
            <a:ext cx="4634660" cy="0"/>
          </a:xfrm>
          <a:prstGeom prst="line">
            <a:avLst/>
          </a:prstGeom>
          <a:ln w="2540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7A9D523B-6B81-614E-A175-547956C6E55E}"/>
              </a:ext>
            </a:extLst>
          </p:cNvPr>
          <p:cNvCxnSpPr>
            <a:cxnSpLocks/>
          </p:cNvCxnSpPr>
          <p:nvPr userDrawn="1"/>
        </p:nvCxnSpPr>
        <p:spPr>
          <a:xfrm>
            <a:off x="8966956" y="5145716"/>
            <a:ext cx="4634660" cy="0"/>
          </a:xfrm>
          <a:prstGeom prst="line">
            <a:avLst/>
          </a:prstGeom>
          <a:ln w="2540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:a16="http://schemas.microsoft.com/office/drawing/2014/main" id="{BA074FC8-A20F-E14F-A7FF-75BF4077662D}"/>
              </a:ext>
            </a:extLst>
          </p:cNvPr>
          <p:cNvCxnSpPr>
            <a:cxnSpLocks/>
          </p:cNvCxnSpPr>
          <p:nvPr userDrawn="1"/>
        </p:nvCxnSpPr>
        <p:spPr>
          <a:xfrm>
            <a:off x="8966956" y="7353338"/>
            <a:ext cx="4634660" cy="0"/>
          </a:xfrm>
          <a:prstGeom prst="line">
            <a:avLst/>
          </a:prstGeom>
          <a:ln w="2540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Straight Connector 75">
            <a:extLst>
              <a:ext uri="{FF2B5EF4-FFF2-40B4-BE49-F238E27FC236}">
                <a16:creationId xmlns:a16="http://schemas.microsoft.com/office/drawing/2014/main" id="{E1FE1FB0-47E9-7C4B-B043-EFAA57173615}"/>
              </a:ext>
            </a:extLst>
          </p:cNvPr>
          <p:cNvCxnSpPr>
            <a:cxnSpLocks/>
          </p:cNvCxnSpPr>
          <p:nvPr userDrawn="1"/>
        </p:nvCxnSpPr>
        <p:spPr>
          <a:xfrm>
            <a:off x="8966956" y="9587086"/>
            <a:ext cx="4634660" cy="0"/>
          </a:xfrm>
          <a:prstGeom prst="line">
            <a:avLst/>
          </a:prstGeom>
          <a:ln w="2540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>
            <a:extLst>
              <a:ext uri="{FF2B5EF4-FFF2-40B4-BE49-F238E27FC236}">
                <a16:creationId xmlns:a16="http://schemas.microsoft.com/office/drawing/2014/main" id="{A9C4C478-3304-EF49-93F5-743102D251F1}"/>
              </a:ext>
            </a:extLst>
          </p:cNvPr>
          <p:cNvCxnSpPr>
            <a:cxnSpLocks/>
          </p:cNvCxnSpPr>
          <p:nvPr userDrawn="1"/>
        </p:nvCxnSpPr>
        <p:spPr>
          <a:xfrm>
            <a:off x="8966956" y="11703272"/>
            <a:ext cx="4634660" cy="0"/>
          </a:xfrm>
          <a:prstGeom prst="line">
            <a:avLst/>
          </a:prstGeom>
          <a:ln w="25400" cap="rnd">
            <a:solidFill>
              <a:schemeClr val="tx1"/>
            </a:solidFill>
            <a:prstDash val="sysDot"/>
            <a:round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3D4756DE-8EA4-8443-A0FD-526F72AE1C99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114889" y="12802957"/>
            <a:ext cx="15970217" cy="862282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en-GB"/>
              <a:t>Lag </a:t>
            </a:r>
            <a:r>
              <a:rPr lang="en-GB" err="1"/>
              <a:t>en</a:t>
            </a:r>
            <a:r>
              <a:rPr lang="en-GB"/>
              <a:t> </a:t>
            </a:r>
            <a:r>
              <a:rPr lang="en-GB" err="1"/>
              <a:t>linje</a:t>
            </a:r>
            <a:r>
              <a:rPr lang="en-GB"/>
              <a:t> (den </a:t>
            </a:r>
            <a:r>
              <a:rPr lang="en-GB" err="1"/>
              <a:t>blir</a:t>
            </a:r>
            <a:r>
              <a:rPr lang="en-GB"/>
              <a:t> </a:t>
            </a:r>
            <a:r>
              <a:rPr lang="en-GB" err="1"/>
              <a:t>automatisk</a:t>
            </a:r>
            <a:r>
              <a:rPr lang="en-GB"/>
              <a:t> like </a:t>
            </a:r>
            <a:r>
              <a:rPr lang="en-GB" err="1"/>
              <a:t>tykk</a:t>
            </a:r>
            <a:r>
              <a:rPr lang="en-GB"/>
              <a:t> </a:t>
            </a:r>
            <a:r>
              <a:rPr lang="en-GB" err="1"/>
              <a:t>og</a:t>
            </a:r>
            <a:r>
              <a:rPr lang="en-GB"/>
              <a:t> har </a:t>
            </a:r>
            <a:r>
              <a:rPr lang="en-GB" err="1"/>
              <a:t>stort</a:t>
            </a:r>
            <a:r>
              <a:rPr lang="en-GB"/>
              <a:t> </a:t>
            </a:r>
            <a:r>
              <a:rPr lang="en-GB" err="1"/>
              <a:t>punkt</a:t>
            </a:r>
            <a:r>
              <a:rPr lang="en-GB"/>
              <a:t> </a:t>
            </a:r>
            <a:r>
              <a:rPr lang="en-GB" err="1"/>
              <a:t>på</a:t>
            </a:r>
            <a:r>
              <a:rPr lang="en-GB"/>
              <a:t> </a:t>
            </a:r>
            <a:r>
              <a:rPr lang="en-GB" err="1"/>
              <a:t>enden</a:t>
            </a:r>
            <a:r>
              <a:rPr lang="en-GB"/>
              <a:t>. </a:t>
            </a:r>
            <a:r>
              <a:rPr lang="en-GB" err="1"/>
              <a:t>Plasser</a:t>
            </a:r>
            <a:r>
              <a:rPr lang="en-GB"/>
              <a:t> </a:t>
            </a:r>
            <a:r>
              <a:rPr lang="en-GB" err="1"/>
              <a:t>linjen</a:t>
            </a:r>
            <a:r>
              <a:rPr lang="en-GB"/>
              <a:t> mot </a:t>
            </a:r>
            <a:r>
              <a:rPr lang="en-GB" err="1"/>
              <a:t>eksisterende</a:t>
            </a:r>
            <a:r>
              <a:rPr lang="en-GB"/>
              <a:t> </a:t>
            </a:r>
            <a:r>
              <a:rPr lang="en-GB" err="1"/>
              <a:t>linje</a:t>
            </a:r>
            <a:r>
              <a:rPr lang="en-GB"/>
              <a:t> </a:t>
            </a:r>
            <a:r>
              <a:rPr lang="en-GB" err="1"/>
              <a:t>og</a:t>
            </a:r>
            <a:r>
              <a:rPr lang="en-GB"/>
              <a:t> bort </a:t>
            </a:r>
            <a:r>
              <a:rPr lang="en-GB" err="1"/>
              <a:t>til</a:t>
            </a:r>
            <a:r>
              <a:rPr lang="en-GB"/>
              <a:t> kart. </a:t>
            </a:r>
            <a:r>
              <a:rPr lang="en-GB" err="1"/>
              <a:t>Endre</a:t>
            </a:r>
            <a:r>
              <a:rPr lang="en-GB"/>
              <a:t> kart </a:t>
            </a:r>
            <a:r>
              <a:rPr lang="en-GB" err="1"/>
              <a:t>ved</a:t>
            </a:r>
            <a:r>
              <a:rPr lang="en-GB"/>
              <a:t> </a:t>
            </a:r>
            <a:r>
              <a:rPr lang="en-GB" err="1"/>
              <a:t>å</a:t>
            </a:r>
            <a:r>
              <a:rPr lang="en-GB"/>
              <a:t> </a:t>
            </a:r>
            <a:r>
              <a:rPr lang="en-GB" err="1"/>
              <a:t>endre</a:t>
            </a:r>
            <a:r>
              <a:rPr lang="en-GB"/>
              <a:t> </a:t>
            </a:r>
            <a:r>
              <a:rPr lang="en-GB" err="1"/>
              <a:t>bakgrunnen</a:t>
            </a:r>
            <a:r>
              <a:rPr lang="en-GB"/>
              <a:t>.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248425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rt_2">
    <p:bg>
      <p:bgPr>
        <a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Logo&#10;&#10;Description automatically generated with medium confidence">
            <a:extLst>
              <a:ext uri="{FF2B5EF4-FFF2-40B4-BE49-F238E27FC236}">
                <a16:creationId xmlns:a16="http://schemas.microsoft.com/office/drawing/2014/main" id="{0EA1B118-16B1-AD4D-B67C-A0DC93817B79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  <p:sp>
        <p:nvSpPr>
          <p:cNvPr id="5" name="Rectangle 4">
            <a:extLst>
              <a:ext uri="{FF2B5EF4-FFF2-40B4-BE49-F238E27FC236}">
                <a16:creationId xmlns:a16="http://schemas.microsoft.com/office/drawing/2014/main" id="{C045F7E0-EFD0-F34B-ADB0-85BEF2D43B7F}"/>
              </a:ext>
            </a:extLst>
          </p:cNvPr>
          <p:cNvSpPr/>
          <p:nvPr userDrawn="1"/>
        </p:nvSpPr>
        <p:spPr>
          <a:xfrm>
            <a:off x="5279521" y="1989236"/>
            <a:ext cx="4129053" cy="1892796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F31890D-BDCD-504A-8744-F2B059BEF50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217958" y="1989236"/>
            <a:ext cx="4061566" cy="1892796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NO"/>
              <a:t>Bytt bilde</a:t>
            </a: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411874A4-9412-D441-9D23-63209BFCFB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58153" y="2681718"/>
            <a:ext cx="3067134" cy="507831"/>
          </a:xfrm>
        </p:spPr>
        <p:txBody>
          <a:bodyPr anchor="ctr" anchorCtr="0">
            <a:spAutoFit/>
          </a:bodyPr>
          <a:lstStyle>
            <a:lvl1pPr marL="0" indent="0" algn="l">
              <a:buNone/>
              <a:defRPr sz="3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Sted</a:t>
            </a:r>
            <a:r>
              <a:rPr lang="en-GB"/>
              <a:t> her</a:t>
            </a:r>
            <a:endParaRPr lang="en-NO"/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D7F52D1B-013A-5B47-9D9B-165A4FDAD5B3}"/>
              </a:ext>
            </a:extLst>
          </p:cNvPr>
          <p:cNvSpPr/>
          <p:nvPr userDrawn="1"/>
        </p:nvSpPr>
        <p:spPr>
          <a:xfrm>
            <a:off x="5279521" y="4205190"/>
            <a:ext cx="4129053" cy="1892796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220702F8-5A27-A74C-8435-61A65E17566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217958" y="4205190"/>
            <a:ext cx="4061566" cy="1892796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NO"/>
              <a:t>Bytt bilde</a:t>
            </a:r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B74BA815-7C99-9444-9F63-E1CC96E95EF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8153" y="4897672"/>
            <a:ext cx="3067134" cy="507831"/>
          </a:xfrm>
        </p:spPr>
        <p:txBody>
          <a:bodyPr anchor="ctr" anchorCtr="0">
            <a:spAutoFit/>
          </a:bodyPr>
          <a:lstStyle>
            <a:lvl1pPr marL="0" indent="0" algn="l">
              <a:buNone/>
              <a:defRPr sz="3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Sted</a:t>
            </a:r>
            <a:r>
              <a:rPr lang="en-GB"/>
              <a:t> her</a:t>
            </a:r>
            <a:endParaRPr lang="en-NO"/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D807AC16-CD07-4845-A424-909523FBC554}"/>
              </a:ext>
            </a:extLst>
          </p:cNvPr>
          <p:cNvSpPr/>
          <p:nvPr userDrawn="1"/>
        </p:nvSpPr>
        <p:spPr>
          <a:xfrm>
            <a:off x="5279521" y="6395830"/>
            <a:ext cx="4129053" cy="1892796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2066DD67-125F-0F4F-A969-B4CBD3D158A0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217958" y="6395830"/>
            <a:ext cx="4061566" cy="1892796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NO"/>
              <a:t>Bytt bilde</a:t>
            </a:r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4C410607-A0E4-2542-9676-C5B00415B3D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658153" y="7088312"/>
            <a:ext cx="3067134" cy="507831"/>
          </a:xfrm>
        </p:spPr>
        <p:txBody>
          <a:bodyPr anchor="ctr" anchorCtr="0">
            <a:spAutoFit/>
          </a:bodyPr>
          <a:lstStyle>
            <a:lvl1pPr marL="0" indent="0" algn="l">
              <a:buNone/>
              <a:defRPr sz="30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Sted</a:t>
            </a:r>
            <a:r>
              <a:rPr lang="en-GB"/>
              <a:t> her</a:t>
            </a:r>
            <a:endParaRPr lang="en-NO"/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A968382-4C81-2F41-AF8E-C2216FFD58C8}"/>
              </a:ext>
            </a:extLst>
          </p:cNvPr>
          <p:cNvSpPr/>
          <p:nvPr userDrawn="1"/>
        </p:nvSpPr>
        <p:spPr>
          <a:xfrm>
            <a:off x="5279521" y="8587488"/>
            <a:ext cx="4129053" cy="1892796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33" name="Picture Placeholder 7">
            <a:extLst>
              <a:ext uri="{FF2B5EF4-FFF2-40B4-BE49-F238E27FC236}">
                <a16:creationId xmlns:a16="http://schemas.microsoft.com/office/drawing/2014/main" id="{1A486236-7C20-BC41-970C-9E4C53C0B75E}"/>
              </a:ext>
            </a:extLst>
          </p:cNvPr>
          <p:cNvSpPr>
            <a:spLocks noGrp="1"/>
          </p:cNvSpPr>
          <p:nvPr>
            <p:ph type="pic" sz="quarter" idx="19" hasCustomPrompt="1"/>
          </p:nvPr>
        </p:nvSpPr>
        <p:spPr>
          <a:xfrm>
            <a:off x="1217958" y="8587488"/>
            <a:ext cx="4061566" cy="1892796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NO"/>
              <a:t>Bytt bilde</a:t>
            </a:r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0DBB6CC4-7C68-1A4A-B08C-B0155103966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658153" y="9279970"/>
            <a:ext cx="3067134" cy="507831"/>
          </a:xfrm>
        </p:spPr>
        <p:txBody>
          <a:bodyPr anchor="ctr" anchorCtr="0">
            <a:spAutoFit/>
          </a:bodyPr>
          <a:lstStyle>
            <a:lvl1pPr marL="0" indent="0" algn="l">
              <a:buNone/>
              <a:defRPr sz="30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Sted</a:t>
            </a:r>
            <a:r>
              <a:rPr lang="en-GB"/>
              <a:t> her</a:t>
            </a:r>
            <a:endParaRPr lang="en-NO"/>
          </a:p>
        </p:txBody>
      </p:sp>
      <p:sp>
        <p:nvSpPr>
          <p:cNvPr id="35" name="Rectangle 34">
            <a:extLst>
              <a:ext uri="{FF2B5EF4-FFF2-40B4-BE49-F238E27FC236}">
                <a16:creationId xmlns:a16="http://schemas.microsoft.com/office/drawing/2014/main" id="{24FE3ECC-BAEF-9145-BC9B-782560EBC331}"/>
              </a:ext>
            </a:extLst>
          </p:cNvPr>
          <p:cNvSpPr/>
          <p:nvPr userDrawn="1"/>
        </p:nvSpPr>
        <p:spPr>
          <a:xfrm>
            <a:off x="5279521" y="10764630"/>
            <a:ext cx="4129053" cy="1892796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0236C5ED-FD03-9645-B729-8995D6DDD2D8}"/>
              </a:ext>
            </a:extLst>
          </p:cNvPr>
          <p:cNvSpPr>
            <a:spLocks noGrp="1"/>
          </p:cNvSpPr>
          <p:nvPr>
            <p:ph type="pic" sz="quarter" idx="21" hasCustomPrompt="1"/>
          </p:nvPr>
        </p:nvSpPr>
        <p:spPr>
          <a:xfrm>
            <a:off x="1217958" y="10764630"/>
            <a:ext cx="4061566" cy="1892796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>
            <a:normAutofit/>
          </a:bodyPr>
          <a:lstStyle>
            <a:lvl1pPr marL="0" indent="0">
              <a:buNone/>
              <a:defRPr sz="2800"/>
            </a:lvl1pPr>
          </a:lstStyle>
          <a:p>
            <a:r>
              <a:rPr lang="en-NO"/>
              <a:t>Bytt bilde</a:t>
            </a:r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C170160D-0E59-6247-8EF0-F9BEA22BA5A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5658153" y="11457112"/>
            <a:ext cx="3067134" cy="507831"/>
          </a:xfrm>
        </p:spPr>
        <p:txBody>
          <a:bodyPr anchor="ctr" anchorCtr="0">
            <a:spAutoFit/>
          </a:bodyPr>
          <a:lstStyle>
            <a:lvl1pPr marL="0" indent="0" algn="l">
              <a:buNone/>
              <a:defRPr sz="3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Sted</a:t>
            </a:r>
            <a:r>
              <a:rPr lang="en-GB"/>
              <a:t> her</a:t>
            </a:r>
            <a:endParaRPr lang="en-NO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282F91A0-CF55-574A-9A4B-68B4AB75C796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622161" y="2300931"/>
            <a:ext cx="1347554" cy="1347642"/>
          </a:xfrm>
          <a:prstGeom prst="ellipse">
            <a:avLst/>
          </a:prstGeom>
          <a:solidFill>
            <a:schemeClr val="tx1"/>
          </a:solidFill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err="1"/>
              <a:t>Flytt</a:t>
            </a:r>
            <a:r>
              <a:rPr lang="en-GB"/>
              <a:t> </a:t>
            </a:r>
            <a:r>
              <a:rPr lang="en-GB" err="1"/>
              <a:t>på</a:t>
            </a:r>
            <a:r>
              <a:rPr lang="en-GB"/>
              <a:t> meg</a:t>
            </a:r>
            <a:endParaRPr lang="en-NO"/>
          </a:p>
        </p:txBody>
      </p:sp>
      <p:sp>
        <p:nvSpPr>
          <p:cNvPr id="38" name="Text Placeholder 12">
            <a:extLst>
              <a:ext uri="{FF2B5EF4-FFF2-40B4-BE49-F238E27FC236}">
                <a16:creationId xmlns:a16="http://schemas.microsoft.com/office/drawing/2014/main" id="{CF7FD771-5704-EF4F-85F3-4D405F46975C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9622161" y="4477767"/>
            <a:ext cx="1347554" cy="1347642"/>
          </a:xfrm>
          <a:prstGeom prst="ellipse">
            <a:avLst/>
          </a:prstGeom>
          <a:solidFill>
            <a:schemeClr val="tx2"/>
          </a:solidFill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err="1"/>
              <a:t>Flytt</a:t>
            </a:r>
            <a:r>
              <a:rPr lang="en-GB"/>
              <a:t> </a:t>
            </a:r>
            <a:r>
              <a:rPr lang="en-GB" err="1"/>
              <a:t>på</a:t>
            </a:r>
            <a:r>
              <a:rPr lang="en-GB"/>
              <a:t> meg</a:t>
            </a:r>
            <a:endParaRPr lang="en-NO"/>
          </a:p>
        </p:txBody>
      </p:sp>
      <p:sp>
        <p:nvSpPr>
          <p:cNvPr id="39" name="Text Placeholder 12">
            <a:extLst>
              <a:ext uri="{FF2B5EF4-FFF2-40B4-BE49-F238E27FC236}">
                <a16:creationId xmlns:a16="http://schemas.microsoft.com/office/drawing/2014/main" id="{2F5C761F-A5C2-3A4E-BDD2-B8934F4729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9622159" y="6623305"/>
            <a:ext cx="1347554" cy="1347642"/>
          </a:xfrm>
          <a:prstGeom prst="ellipse">
            <a:avLst/>
          </a:prstGeom>
          <a:solidFill>
            <a:schemeClr val="bg2"/>
          </a:solidFill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err="1"/>
              <a:t>Flytt</a:t>
            </a:r>
            <a:r>
              <a:rPr lang="en-GB"/>
              <a:t> </a:t>
            </a:r>
            <a:r>
              <a:rPr lang="en-GB" err="1"/>
              <a:t>på</a:t>
            </a:r>
            <a:r>
              <a:rPr lang="en-GB"/>
              <a:t> meg</a:t>
            </a:r>
            <a:endParaRPr lang="en-NO"/>
          </a:p>
        </p:txBody>
      </p:sp>
      <p:sp>
        <p:nvSpPr>
          <p:cNvPr id="40" name="Text Placeholder 12">
            <a:extLst>
              <a:ext uri="{FF2B5EF4-FFF2-40B4-BE49-F238E27FC236}">
                <a16:creationId xmlns:a16="http://schemas.microsoft.com/office/drawing/2014/main" id="{1B82A7E9-8821-BE4C-924C-BE7E93390B2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9622159" y="8860065"/>
            <a:ext cx="1347554" cy="1347642"/>
          </a:xfrm>
          <a:prstGeom prst="ellipse">
            <a:avLst/>
          </a:prstGeom>
          <a:solidFill>
            <a:schemeClr val="accent1"/>
          </a:solidFill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err="1"/>
              <a:t>Flytt</a:t>
            </a:r>
            <a:r>
              <a:rPr lang="en-GB"/>
              <a:t> </a:t>
            </a:r>
            <a:r>
              <a:rPr lang="en-GB" err="1"/>
              <a:t>på</a:t>
            </a:r>
            <a:r>
              <a:rPr lang="en-GB"/>
              <a:t> meg</a:t>
            </a:r>
            <a:endParaRPr lang="en-NO"/>
          </a:p>
        </p:txBody>
      </p:sp>
      <p:sp>
        <p:nvSpPr>
          <p:cNvPr id="41" name="Text Placeholder 12">
            <a:extLst>
              <a:ext uri="{FF2B5EF4-FFF2-40B4-BE49-F238E27FC236}">
                <a16:creationId xmlns:a16="http://schemas.microsoft.com/office/drawing/2014/main" id="{05A87D46-4A80-A347-B84F-8286BCEF8A4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622159" y="10945679"/>
            <a:ext cx="1347554" cy="1347642"/>
          </a:xfrm>
          <a:prstGeom prst="ellipse">
            <a:avLst/>
          </a:prstGeom>
          <a:solidFill>
            <a:schemeClr val="accent6"/>
          </a:solidFill>
        </p:spPr>
        <p:txBody>
          <a:bodyPr>
            <a:no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err="1"/>
              <a:t>Flytt</a:t>
            </a:r>
            <a:r>
              <a:rPr lang="en-GB"/>
              <a:t> </a:t>
            </a:r>
            <a:r>
              <a:rPr lang="en-GB" err="1"/>
              <a:t>på</a:t>
            </a:r>
            <a:r>
              <a:rPr lang="en-GB"/>
              <a:t> meg</a:t>
            </a:r>
            <a:endParaRPr lang="en-NO"/>
          </a:p>
        </p:txBody>
      </p:sp>
      <p:sp>
        <p:nvSpPr>
          <p:cNvPr id="42" name="Text Placeholder 81">
            <a:extLst>
              <a:ext uri="{FF2B5EF4-FFF2-40B4-BE49-F238E27FC236}">
                <a16:creationId xmlns:a16="http://schemas.microsoft.com/office/drawing/2014/main" id="{ADAAF4EC-1600-FF46-9EF6-01B184A5F027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14891" y="12802957"/>
            <a:ext cx="9060860" cy="862282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en-GB" err="1"/>
              <a:t>Flytt</a:t>
            </a:r>
            <a:r>
              <a:rPr lang="en-GB"/>
              <a:t> </a:t>
            </a:r>
            <a:r>
              <a:rPr lang="en-GB" err="1"/>
              <a:t>kun</a:t>
            </a:r>
            <a:r>
              <a:rPr lang="en-GB"/>
              <a:t> </a:t>
            </a:r>
            <a:r>
              <a:rPr lang="en-GB" err="1"/>
              <a:t>sirklene</a:t>
            </a:r>
            <a:r>
              <a:rPr lang="en-GB"/>
              <a:t> </a:t>
            </a:r>
            <a:r>
              <a:rPr lang="en-GB" err="1"/>
              <a:t>til</a:t>
            </a:r>
            <a:r>
              <a:rPr lang="en-GB"/>
              <a:t> </a:t>
            </a:r>
            <a:r>
              <a:rPr lang="en-GB" err="1"/>
              <a:t>korrekt</a:t>
            </a:r>
            <a:r>
              <a:rPr lang="en-GB"/>
              <a:t> </a:t>
            </a:r>
            <a:r>
              <a:rPr lang="en-GB" err="1"/>
              <a:t>punkt</a:t>
            </a:r>
            <a:r>
              <a:rPr lang="en-GB"/>
              <a:t> </a:t>
            </a:r>
            <a:r>
              <a:rPr lang="en-GB" err="1"/>
              <a:t>på</a:t>
            </a:r>
            <a:r>
              <a:rPr lang="en-GB"/>
              <a:t> </a:t>
            </a:r>
            <a:r>
              <a:rPr lang="en-GB" err="1"/>
              <a:t>bildet</a:t>
            </a:r>
            <a:r>
              <a:rPr lang="en-GB"/>
              <a:t> </a:t>
            </a:r>
            <a:r>
              <a:rPr lang="en-GB" err="1"/>
              <a:t>Endre</a:t>
            </a:r>
            <a:r>
              <a:rPr lang="en-GB"/>
              <a:t> kart </a:t>
            </a:r>
            <a:r>
              <a:rPr lang="en-GB" err="1"/>
              <a:t>ved</a:t>
            </a:r>
            <a:r>
              <a:rPr lang="en-GB"/>
              <a:t> </a:t>
            </a:r>
            <a:r>
              <a:rPr lang="en-GB" err="1"/>
              <a:t>å</a:t>
            </a:r>
            <a:r>
              <a:rPr lang="en-GB"/>
              <a:t> </a:t>
            </a:r>
            <a:r>
              <a:rPr lang="en-GB" err="1"/>
              <a:t>endre</a:t>
            </a:r>
            <a:r>
              <a:rPr lang="en-GB"/>
              <a:t> </a:t>
            </a:r>
            <a:r>
              <a:rPr lang="en-GB" err="1"/>
              <a:t>bakgrunnen</a:t>
            </a:r>
            <a:r>
              <a:rPr lang="en-GB"/>
              <a:t>.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2129280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90BBE97B-283E-6F4A-957E-6977FD1C1496}"/>
              </a:ext>
            </a:extLst>
          </p:cNvPr>
          <p:cNvSpPr/>
          <p:nvPr userDrawn="1"/>
        </p:nvSpPr>
        <p:spPr>
          <a:xfrm>
            <a:off x="10489037" y="6766253"/>
            <a:ext cx="13893376" cy="694713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20" name="forgrunn">
            <a:extLst>
              <a:ext uri="{FF2B5EF4-FFF2-40B4-BE49-F238E27FC236}">
                <a16:creationId xmlns:a16="http://schemas.microsoft.com/office/drawing/2014/main" id="{3F860B3B-8F29-304F-9A5B-0AC778ABC9EF}"/>
              </a:ext>
            </a:extLst>
          </p:cNvPr>
          <p:cNvSpPr/>
          <p:nvPr userDrawn="1"/>
        </p:nvSpPr>
        <p:spPr>
          <a:xfrm rot="5400000">
            <a:off x="13962156" y="3295745"/>
            <a:ext cx="6947138" cy="13893374"/>
          </a:xfrm>
          <a:custGeom>
            <a:avLst/>
            <a:gdLst>
              <a:gd name="connsiteX0" fmla="*/ 1371600 w 6858000"/>
              <a:gd name="connsiteY0" fmla="*/ 2743200 h 13716000"/>
              <a:gd name="connsiteX1" fmla="*/ 2743200 w 6858000"/>
              <a:gd name="connsiteY1" fmla="*/ 5486400 h 13716000"/>
              <a:gd name="connsiteX2" fmla="*/ 0 w 6858000"/>
              <a:gd name="connsiteY2" fmla="*/ 6858000 h 13716000"/>
              <a:gd name="connsiteX3" fmla="*/ 0 w 6858000"/>
              <a:gd name="connsiteY3" fmla="*/ 6858000 h 13716000"/>
              <a:gd name="connsiteX4" fmla="*/ 2743200 w 6858000"/>
              <a:gd name="connsiteY4" fmla="*/ 8229600 h 13716000"/>
              <a:gd name="connsiteX5" fmla="*/ 0 w 6858000"/>
              <a:gd name="connsiteY5" fmla="*/ 13716000 h 13716000"/>
              <a:gd name="connsiteX6" fmla="*/ 0 w 6858000"/>
              <a:gd name="connsiteY6" fmla="*/ 13716000 h 13716000"/>
              <a:gd name="connsiteX7" fmla="*/ 5486400 w 6858000"/>
              <a:gd name="connsiteY7" fmla="*/ 10972800 h 13716000"/>
              <a:gd name="connsiteX8" fmla="*/ 6858000 w 6858000"/>
              <a:gd name="connsiteY8" fmla="*/ 13666215 h 13716000"/>
              <a:gd name="connsiteX9" fmla="*/ 6858000 w 6858000"/>
              <a:gd name="connsiteY9" fmla="*/ 0 h 13716000"/>
              <a:gd name="connsiteX10" fmla="*/ 5486400 w 6858000"/>
              <a:gd name="connsiteY10" fmla="*/ 2743200 h 13716000"/>
              <a:gd name="connsiteX11" fmla="*/ 1371600 w 6858000"/>
              <a:gd name="connsiteY11" fmla="*/ 2743200 h 13716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858000" h="13716000">
                <a:moveTo>
                  <a:pt x="1371600" y="2743200"/>
                </a:moveTo>
                <a:lnTo>
                  <a:pt x="2743200" y="5486400"/>
                </a:lnTo>
                <a:lnTo>
                  <a:pt x="0" y="6858000"/>
                </a:lnTo>
                <a:lnTo>
                  <a:pt x="0" y="6858000"/>
                </a:lnTo>
                <a:lnTo>
                  <a:pt x="2743200" y="8229600"/>
                </a:lnTo>
                <a:lnTo>
                  <a:pt x="0" y="13716000"/>
                </a:lnTo>
                <a:lnTo>
                  <a:pt x="0" y="13716000"/>
                </a:lnTo>
                <a:lnTo>
                  <a:pt x="5486400" y="10972800"/>
                </a:lnTo>
                <a:lnTo>
                  <a:pt x="6858000" y="13666215"/>
                </a:lnTo>
                <a:lnTo>
                  <a:pt x="6858000" y="0"/>
                </a:lnTo>
                <a:lnTo>
                  <a:pt x="5486400" y="2743200"/>
                </a:lnTo>
                <a:lnTo>
                  <a:pt x="1371600" y="2743200"/>
                </a:lnTo>
                <a:close/>
              </a:path>
            </a:pathLst>
          </a:custGeom>
          <a:solidFill>
            <a:schemeClr val="accent1"/>
          </a:solidFill>
          <a:ln w="12700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135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3EED513F-6643-FF4A-BA95-7B5D3451715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6765927"/>
            <a:ext cx="10489517" cy="6950074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NO"/>
              <a:t>Bytt bilde her</a:t>
            </a:r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7EEA5E6B-4354-B446-B850-A0309129E15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93794" y="3409429"/>
            <a:ext cx="19080146" cy="1061829"/>
          </a:xfrm>
        </p:spPr>
        <p:txBody>
          <a:bodyPr wrap="square" anchor="ctr">
            <a:spAutoFit/>
          </a:bodyPr>
          <a:lstStyle>
            <a:lvl1pPr marL="0" indent="0">
              <a:buNone/>
              <a:defRPr sz="7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Skriv</a:t>
            </a:r>
            <a:r>
              <a:rPr lang="en-GB"/>
              <a:t> in </a:t>
            </a:r>
            <a:r>
              <a:rPr lang="en-GB" err="1"/>
              <a:t>tittel</a:t>
            </a:r>
            <a:r>
              <a:rPr lang="en-GB"/>
              <a:t> her</a:t>
            </a:r>
            <a:endParaRPr lang="en-NO"/>
          </a:p>
        </p:txBody>
      </p:sp>
      <p:pic>
        <p:nvPicPr>
          <p:cNvPr id="7" name="Picture 6" descr="Logo&#10;&#10;Description automatically generated with medium confidence">
            <a:extLst>
              <a:ext uri="{FF2B5EF4-FFF2-40B4-BE49-F238E27FC236}">
                <a16:creationId xmlns:a16="http://schemas.microsoft.com/office/drawing/2014/main" id="{BE8FA637-FBB6-A240-BED0-82AB396A635C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56449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grøn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925199" y="3412385"/>
            <a:ext cx="15379200" cy="1170000"/>
          </a:xfrm>
        </p:spPr>
        <p:txBody>
          <a:bodyPr anchor="t" anchorCtr="0"/>
          <a:lstStyle>
            <a:lvl1pPr algn="l">
              <a:lnSpc>
                <a:spcPct val="100000"/>
              </a:lnSpc>
              <a:defRPr sz="7000"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legge til tittel</a:t>
            </a:r>
            <a:endParaRPr lang="en-US"/>
          </a:p>
        </p:txBody>
      </p:sp>
      <p:pic>
        <p:nvPicPr>
          <p:cNvPr id="9" name="Logo" hidden="1">
            <a:extLst>
              <a:ext uri="{FF2B5EF4-FFF2-40B4-BE49-F238E27FC236}">
                <a16:creationId xmlns:a16="http://schemas.microsoft.com/office/drawing/2014/main" id="{3F926A4D-E83D-43A3-A37C-C084C590672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81314" y="1017010"/>
            <a:ext cx="1714272" cy="692724"/>
          </a:xfrm>
          <a:prstGeom prst="rect">
            <a:avLst/>
          </a:prstGeom>
        </p:spPr>
      </p:pic>
      <p:grpSp>
        <p:nvGrpSpPr>
          <p:cNvPr id="12" name="Stående form 4">
            <a:extLst>
              <a:ext uri="{FF2B5EF4-FFF2-40B4-BE49-F238E27FC236}">
                <a16:creationId xmlns:a16="http://schemas.microsoft.com/office/drawing/2014/main" id="{601E0C09-C076-4453-A83C-5393AC103BFD}"/>
              </a:ext>
            </a:extLst>
          </p:cNvPr>
          <p:cNvGrpSpPr/>
          <p:nvPr/>
        </p:nvGrpSpPr>
        <p:grpSpPr>
          <a:xfrm>
            <a:off x="17524413" y="0"/>
            <a:ext cx="6857999" cy="13715998"/>
            <a:chOff x="17535985" y="0"/>
            <a:chExt cx="6857999" cy="13715998"/>
          </a:xfrm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627F9877-D20E-4648-A06B-41CD21727116}"/>
                </a:ext>
              </a:extLst>
            </p:cNvPr>
            <p:cNvSpPr/>
            <p:nvPr/>
          </p:nvSpPr>
          <p:spPr>
            <a:xfrm>
              <a:off x="17535985" y="0"/>
              <a:ext cx="6857999" cy="13715998"/>
            </a:xfrm>
            <a:custGeom>
              <a:avLst/>
              <a:gdLst>
                <a:gd name="connsiteX0" fmla="*/ 0 w 6857999"/>
                <a:gd name="connsiteY0" fmla="*/ 0 h 13715998"/>
                <a:gd name="connsiteX1" fmla="*/ 6857999 w 6857999"/>
                <a:gd name="connsiteY1" fmla="*/ 0 h 13715998"/>
                <a:gd name="connsiteX2" fmla="*/ 6857999 w 6857999"/>
                <a:gd name="connsiteY2" fmla="*/ 13715998 h 13715998"/>
                <a:gd name="connsiteX3" fmla="*/ 0 w 6857999"/>
                <a:gd name="connsiteY3" fmla="*/ 13715998 h 1371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7999" h="13715998">
                  <a:moveTo>
                    <a:pt x="0" y="0"/>
                  </a:moveTo>
                  <a:lnTo>
                    <a:pt x="6857999" y="0"/>
                  </a:lnTo>
                  <a:lnTo>
                    <a:pt x="6857999" y="13715998"/>
                  </a:lnTo>
                  <a:lnTo>
                    <a:pt x="0" y="13715998"/>
                  </a:lnTo>
                  <a:close/>
                </a:path>
              </a:pathLst>
            </a:custGeom>
            <a:solidFill>
              <a:schemeClr val="accent2"/>
            </a:solidFill>
            <a:ln w="126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7C0BD930-8AD8-4529-A098-4F0356EDA06E}"/>
                </a:ext>
              </a:extLst>
            </p:cNvPr>
            <p:cNvSpPr/>
            <p:nvPr/>
          </p:nvSpPr>
          <p:spPr>
            <a:xfrm>
              <a:off x="17535985" y="0"/>
              <a:ext cx="6857999" cy="13715998"/>
            </a:xfrm>
            <a:custGeom>
              <a:avLst/>
              <a:gdLst>
                <a:gd name="connsiteX0" fmla="*/ 0 w 6857999"/>
                <a:gd name="connsiteY0" fmla="*/ 0 h 13715998"/>
                <a:gd name="connsiteX1" fmla="*/ 1371600 w 6857999"/>
                <a:gd name="connsiteY1" fmla="*/ 1371600 h 13715998"/>
                <a:gd name="connsiteX2" fmla="*/ 1371600 w 6857999"/>
                <a:gd name="connsiteY2" fmla="*/ 2743200 h 13715998"/>
                <a:gd name="connsiteX3" fmla="*/ 2057400 w 6857999"/>
                <a:gd name="connsiteY3" fmla="*/ 2743200 h 13715998"/>
                <a:gd name="connsiteX4" fmla="*/ 3429000 w 6857999"/>
                <a:gd name="connsiteY4" fmla="*/ 4114800 h 13715998"/>
                <a:gd name="connsiteX5" fmla="*/ 4800600 w 6857999"/>
                <a:gd name="connsiteY5" fmla="*/ 5486399 h 13715998"/>
                <a:gd name="connsiteX6" fmla="*/ 5486399 w 6857999"/>
                <a:gd name="connsiteY6" fmla="*/ 5486399 h 13715998"/>
                <a:gd name="connsiteX7" fmla="*/ 6857999 w 6857999"/>
                <a:gd name="connsiteY7" fmla="*/ 6857999 h 13715998"/>
                <a:gd name="connsiteX8" fmla="*/ 6857999 w 6857999"/>
                <a:gd name="connsiteY8" fmla="*/ 13715998 h 13715998"/>
                <a:gd name="connsiteX9" fmla="*/ 0 w 6857999"/>
                <a:gd name="connsiteY9" fmla="*/ 13715998 h 13715998"/>
                <a:gd name="connsiteX10" fmla="*/ 0 w 6857999"/>
                <a:gd name="connsiteY10" fmla="*/ 0 h 1371599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</a:cxnLst>
              <a:rect l="l" t="t" r="r" b="b"/>
              <a:pathLst>
                <a:path w="6857999" h="13715998">
                  <a:moveTo>
                    <a:pt x="0" y="0"/>
                  </a:moveTo>
                  <a:cubicBezTo>
                    <a:pt x="757514" y="0"/>
                    <a:pt x="1371600" y="614086"/>
                    <a:pt x="1371600" y="1371600"/>
                  </a:cubicBezTo>
                  <a:lnTo>
                    <a:pt x="1371600" y="2743200"/>
                  </a:lnTo>
                  <a:lnTo>
                    <a:pt x="2057400" y="2743200"/>
                  </a:lnTo>
                  <a:cubicBezTo>
                    <a:pt x="2814914" y="2743200"/>
                    <a:pt x="3429000" y="3357286"/>
                    <a:pt x="3429000" y="4114800"/>
                  </a:cubicBezTo>
                  <a:cubicBezTo>
                    <a:pt x="3429000" y="4872313"/>
                    <a:pt x="4043086" y="5486399"/>
                    <a:pt x="4800600" y="5486399"/>
                  </a:cubicBezTo>
                  <a:lnTo>
                    <a:pt x="5486399" y="5486399"/>
                  </a:lnTo>
                  <a:cubicBezTo>
                    <a:pt x="6243913" y="5486399"/>
                    <a:pt x="6857999" y="6100486"/>
                    <a:pt x="6857999" y="6857999"/>
                  </a:cubicBezTo>
                  <a:lnTo>
                    <a:pt x="6857999" y="13715998"/>
                  </a:lnTo>
                  <a:lnTo>
                    <a:pt x="0" y="137159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3"/>
            </a:solidFill>
            <a:ln w="12682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  <p:sp>
        <p:nvSpPr>
          <p:cNvPr id="8" name="Linje to">
            <a:extLst>
              <a:ext uri="{FF2B5EF4-FFF2-40B4-BE49-F238E27FC236}">
                <a16:creationId xmlns:a16="http://schemas.microsoft.com/office/drawing/2014/main" id="{FACA3E44-2CCA-4289-9737-1C5B618694A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925513" y="4478454"/>
            <a:ext cx="15378112" cy="1169552"/>
          </a:xfrm>
        </p:spPr>
        <p:txBody>
          <a:bodyPr tIns="46800" bIns="0" anchor="t" anchorCtr="0">
            <a:noAutofit/>
          </a:bodyPr>
          <a:lstStyle>
            <a:lvl1pPr marL="0" indent="0">
              <a:lnSpc>
                <a:spcPct val="100000"/>
              </a:lnSpc>
              <a:buNone/>
              <a:defRPr sz="5400">
                <a:solidFill>
                  <a:schemeClr val="tx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/>
              <a:t>Klikk for å legge til linje to</a:t>
            </a:r>
          </a:p>
        </p:txBody>
      </p:sp>
    </p:spTree>
    <p:extLst>
      <p:ext uri="{BB962C8B-B14F-4D97-AF65-F5344CB8AC3E}">
        <p14:creationId xmlns:p14="http://schemas.microsoft.com/office/powerpoint/2010/main" val="146923136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1036" userDrawn="1">
          <p15:clr>
            <a:srgbClr val="9FCC3B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kel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90BBE97B-283E-6F4A-957E-6977FD1C1496}"/>
              </a:ext>
            </a:extLst>
          </p:cNvPr>
          <p:cNvSpPr/>
          <p:nvPr userDrawn="1"/>
        </p:nvSpPr>
        <p:spPr>
          <a:xfrm>
            <a:off x="10489037" y="6766253"/>
            <a:ext cx="13893376" cy="69471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3EED513F-6643-FF4A-BA95-7B5D3451715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6765927"/>
            <a:ext cx="10489517" cy="6950074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NO"/>
              <a:t>Bytt bilde her</a:t>
            </a:r>
          </a:p>
        </p:txBody>
      </p:sp>
      <p:sp>
        <p:nvSpPr>
          <p:cNvPr id="9" name="forgrunn">
            <a:extLst>
              <a:ext uri="{FF2B5EF4-FFF2-40B4-BE49-F238E27FC236}">
                <a16:creationId xmlns:a16="http://schemas.microsoft.com/office/drawing/2014/main" id="{4CFADE50-A62C-1C4C-B506-B1C66F65B6D2}"/>
              </a:ext>
            </a:extLst>
          </p:cNvPr>
          <p:cNvSpPr/>
          <p:nvPr userDrawn="1"/>
        </p:nvSpPr>
        <p:spPr>
          <a:xfrm>
            <a:off x="10489034" y="6768863"/>
            <a:ext cx="13893378" cy="6947138"/>
          </a:xfrm>
          <a:custGeom>
            <a:avLst/>
            <a:gdLst>
              <a:gd name="connsiteX0" fmla="*/ 4114017 w 13713389"/>
              <a:gd name="connsiteY0" fmla="*/ 1371339 h 6856694"/>
              <a:gd name="connsiteX1" fmla="*/ 4114017 w 13713389"/>
              <a:gd name="connsiteY1" fmla="*/ 2742678 h 6856694"/>
              <a:gd name="connsiteX2" fmla="*/ 3291214 w 13713389"/>
              <a:gd name="connsiteY2" fmla="*/ 2742678 h 6856694"/>
              <a:gd name="connsiteX3" fmla="*/ 2742678 w 13713389"/>
              <a:gd name="connsiteY3" fmla="*/ 3291213 h 6856694"/>
              <a:gd name="connsiteX4" fmla="*/ 2331276 w 13713389"/>
              <a:gd name="connsiteY4" fmla="*/ 5485355 h 6856694"/>
              <a:gd name="connsiteX5" fmla="*/ 0 w 13713389"/>
              <a:gd name="connsiteY5" fmla="*/ 5485355 h 6856694"/>
              <a:gd name="connsiteX6" fmla="*/ 0 w 13713389"/>
              <a:gd name="connsiteY6" fmla="*/ 6856694 h 6856694"/>
              <a:gd name="connsiteX7" fmla="*/ 13713389 w 13713389"/>
              <a:gd name="connsiteY7" fmla="*/ 6856694 h 6856694"/>
              <a:gd name="connsiteX8" fmla="*/ 13713389 w 13713389"/>
              <a:gd name="connsiteY8" fmla="*/ 5485355 h 6856694"/>
              <a:gd name="connsiteX9" fmla="*/ 11382113 w 13713389"/>
              <a:gd name="connsiteY9" fmla="*/ 5485355 h 6856694"/>
              <a:gd name="connsiteX10" fmla="*/ 10970711 w 13713389"/>
              <a:gd name="connsiteY10" fmla="*/ 3291213 h 6856694"/>
              <a:gd name="connsiteX11" fmla="*/ 10422175 w 13713389"/>
              <a:gd name="connsiteY11" fmla="*/ 2742678 h 6856694"/>
              <a:gd name="connsiteX12" fmla="*/ 9599372 w 13713389"/>
              <a:gd name="connsiteY12" fmla="*/ 2742678 h 6856694"/>
              <a:gd name="connsiteX13" fmla="*/ 9599372 w 13713389"/>
              <a:gd name="connsiteY13" fmla="*/ 1371339 h 6856694"/>
              <a:gd name="connsiteX14" fmla="*/ 8228034 w 13713389"/>
              <a:gd name="connsiteY14" fmla="*/ 0 h 6856694"/>
              <a:gd name="connsiteX15" fmla="*/ 5485356 w 13713389"/>
              <a:gd name="connsiteY15" fmla="*/ 0 h 6856694"/>
              <a:gd name="connsiteX16" fmla="*/ 4114017 w 13713389"/>
              <a:gd name="connsiteY16" fmla="*/ 1371339 h 68566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3713389" h="6856694">
                <a:moveTo>
                  <a:pt x="4114017" y="1371339"/>
                </a:moveTo>
                <a:lnTo>
                  <a:pt x="4114017" y="2742678"/>
                </a:lnTo>
                <a:lnTo>
                  <a:pt x="3291214" y="2742678"/>
                </a:lnTo>
                <a:cubicBezTo>
                  <a:pt x="2950156" y="2742678"/>
                  <a:pt x="2790929" y="2953458"/>
                  <a:pt x="2742678" y="3291213"/>
                </a:cubicBezTo>
                <a:lnTo>
                  <a:pt x="2331276" y="5485355"/>
                </a:lnTo>
                <a:lnTo>
                  <a:pt x="0" y="5485355"/>
                </a:lnTo>
                <a:lnTo>
                  <a:pt x="0" y="6856694"/>
                </a:lnTo>
                <a:lnTo>
                  <a:pt x="13713389" y="6856694"/>
                </a:lnTo>
                <a:lnTo>
                  <a:pt x="13713389" y="5485355"/>
                </a:lnTo>
                <a:lnTo>
                  <a:pt x="11382113" y="5485355"/>
                </a:lnTo>
                <a:lnTo>
                  <a:pt x="10970711" y="3291213"/>
                </a:lnTo>
                <a:cubicBezTo>
                  <a:pt x="10920810" y="2955108"/>
                  <a:pt x="10761836" y="2742678"/>
                  <a:pt x="10422175" y="2742678"/>
                </a:cubicBezTo>
                <a:lnTo>
                  <a:pt x="9599372" y="2742678"/>
                </a:lnTo>
                <a:lnTo>
                  <a:pt x="9599372" y="1371339"/>
                </a:lnTo>
                <a:cubicBezTo>
                  <a:pt x="9599372" y="613969"/>
                  <a:pt x="8985403" y="0"/>
                  <a:pt x="8228034" y="0"/>
                </a:cubicBezTo>
                <a:lnTo>
                  <a:pt x="5485356" y="0"/>
                </a:lnTo>
                <a:cubicBezTo>
                  <a:pt x="4727986" y="0"/>
                  <a:pt x="4114017" y="613969"/>
                  <a:pt x="4114017" y="1371339"/>
                </a:cubicBezTo>
                <a:close/>
              </a:path>
            </a:pathLst>
          </a:custGeom>
          <a:solidFill>
            <a:schemeClr val="tx2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1350"/>
          </a:p>
        </p:txBody>
      </p:sp>
      <p:pic>
        <p:nvPicPr>
          <p:cNvPr id="7" name="Picture 6" descr="Logo&#10;&#10;Description automatically generated with medium confidence">
            <a:extLst>
              <a:ext uri="{FF2B5EF4-FFF2-40B4-BE49-F238E27FC236}">
                <a16:creationId xmlns:a16="http://schemas.microsoft.com/office/drawing/2014/main" id="{E3DCDA4A-9447-864B-99E4-64CE225EC66A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53AE616-33B9-C84D-B2E9-FD98E60DE723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93794" y="3409429"/>
            <a:ext cx="19080146" cy="1061829"/>
          </a:xfrm>
        </p:spPr>
        <p:txBody>
          <a:bodyPr wrap="square" anchor="ctr">
            <a:spAutoFit/>
          </a:bodyPr>
          <a:lstStyle>
            <a:lvl1pPr marL="0" indent="0">
              <a:buNone/>
              <a:defRPr sz="7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Skriv</a:t>
            </a:r>
            <a:r>
              <a:rPr lang="en-GB"/>
              <a:t> in </a:t>
            </a:r>
            <a:r>
              <a:rPr lang="en-GB" err="1"/>
              <a:t>tittel</a:t>
            </a:r>
            <a:r>
              <a:rPr lang="en-GB"/>
              <a:t> her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82959041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kel_3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>
            <a:extLst>
              <a:ext uri="{FF2B5EF4-FFF2-40B4-BE49-F238E27FC236}">
                <a16:creationId xmlns:a16="http://schemas.microsoft.com/office/drawing/2014/main" id="{90BBE97B-283E-6F4A-957E-6977FD1C1496}"/>
              </a:ext>
            </a:extLst>
          </p:cNvPr>
          <p:cNvSpPr/>
          <p:nvPr userDrawn="1"/>
        </p:nvSpPr>
        <p:spPr>
          <a:xfrm>
            <a:off x="10489037" y="6766253"/>
            <a:ext cx="13893376" cy="69471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3EED513F-6643-FF4A-BA95-7B5D3451715E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6765927"/>
            <a:ext cx="10489517" cy="6950074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NO"/>
              <a:t>Bytt bilde her</a:t>
            </a:r>
          </a:p>
        </p:txBody>
      </p:sp>
      <p:sp>
        <p:nvSpPr>
          <p:cNvPr id="7" name="forgrunn">
            <a:extLst>
              <a:ext uri="{FF2B5EF4-FFF2-40B4-BE49-F238E27FC236}">
                <a16:creationId xmlns:a16="http://schemas.microsoft.com/office/drawing/2014/main" id="{CB1E9B62-8225-2843-B6D4-87EBA07FB3C6}"/>
              </a:ext>
            </a:extLst>
          </p:cNvPr>
          <p:cNvSpPr/>
          <p:nvPr userDrawn="1"/>
        </p:nvSpPr>
        <p:spPr>
          <a:xfrm>
            <a:off x="10489037" y="6768859"/>
            <a:ext cx="13893376" cy="6947142"/>
          </a:xfrm>
          <a:custGeom>
            <a:avLst/>
            <a:gdLst>
              <a:gd name="connsiteX0" fmla="*/ 10285042 w 13713390"/>
              <a:gd name="connsiteY0" fmla="*/ 4199218 h 6856695"/>
              <a:gd name="connsiteX1" fmla="*/ 5485356 w 13713390"/>
              <a:gd name="connsiteY1" fmla="*/ 1371339 h 6856695"/>
              <a:gd name="connsiteX2" fmla="*/ 5485356 w 13713390"/>
              <a:gd name="connsiteY2" fmla="*/ 0 h 6856695"/>
              <a:gd name="connsiteX3" fmla="*/ 2742678 w 13713390"/>
              <a:gd name="connsiteY3" fmla="*/ 0 h 6856695"/>
              <a:gd name="connsiteX4" fmla="*/ 2742678 w 13713390"/>
              <a:gd name="connsiteY4" fmla="*/ 2105259 h 6856695"/>
              <a:gd name="connsiteX5" fmla="*/ 0 w 13713390"/>
              <a:gd name="connsiteY5" fmla="*/ 6856695 h 6856695"/>
              <a:gd name="connsiteX6" fmla="*/ 13713390 w 13713390"/>
              <a:gd name="connsiteY6" fmla="*/ 6856695 h 6856695"/>
              <a:gd name="connsiteX7" fmla="*/ 13713390 w 13713390"/>
              <a:gd name="connsiteY7" fmla="*/ 1544153 h 6856695"/>
              <a:gd name="connsiteX8" fmla="*/ 10285042 w 13713390"/>
              <a:gd name="connsiteY8" fmla="*/ 4199218 h 685669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3713390" h="6856695">
                <a:moveTo>
                  <a:pt x="10285042" y="4199218"/>
                </a:moveTo>
                <a:cubicBezTo>
                  <a:pt x="9349358" y="2512852"/>
                  <a:pt x="7550745" y="1371339"/>
                  <a:pt x="5485356" y="1371339"/>
                </a:cubicBezTo>
                <a:lnTo>
                  <a:pt x="5485356" y="0"/>
                </a:lnTo>
                <a:lnTo>
                  <a:pt x="2742678" y="0"/>
                </a:lnTo>
                <a:lnTo>
                  <a:pt x="2742678" y="2105259"/>
                </a:lnTo>
                <a:cubicBezTo>
                  <a:pt x="1103166" y="3053769"/>
                  <a:pt x="0" y="4826352"/>
                  <a:pt x="0" y="6856695"/>
                </a:cubicBezTo>
                <a:lnTo>
                  <a:pt x="13713390" y="6856695"/>
                </a:lnTo>
                <a:lnTo>
                  <a:pt x="13713390" y="1544153"/>
                </a:lnTo>
                <a:cubicBezTo>
                  <a:pt x="12240470" y="1923430"/>
                  <a:pt x="11006265" y="2899493"/>
                  <a:pt x="10285042" y="4199218"/>
                </a:cubicBezTo>
                <a:close/>
              </a:path>
            </a:pathLst>
          </a:custGeom>
          <a:solidFill>
            <a:schemeClr val="accent1"/>
          </a:solidFill>
          <a:ln w="12691" cap="flat">
            <a:noFill/>
            <a:prstDash val="solid"/>
            <a:miter/>
          </a:ln>
        </p:spPr>
        <p:txBody>
          <a:bodyPr rtlCol="0" anchor="ctr"/>
          <a:lstStyle/>
          <a:p>
            <a:endParaRPr lang="nb-NO" sz="135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9453302B-BB8D-5443-AECF-64A55A1991C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393794" y="3409429"/>
            <a:ext cx="19080146" cy="1061829"/>
          </a:xfrm>
        </p:spPr>
        <p:txBody>
          <a:bodyPr wrap="square" anchor="ctr">
            <a:spAutoFit/>
          </a:bodyPr>
          <a:lstStyle>
            <a:lvl1pPr marL="0" indent="0">
              <a:buNone/>
              <a:defRPr sz="7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Skriv</a:t>
            </a:r>
            <a:r>
              <a:rPr lang="en-GB"/>
              <a:t> in </a:t>
            </a:r>
            <a:r>
              <a:rPr lang="en-GB" err="1"/>
              <a:t>tittel</a:t>
            </a:r>
            <a:r>
              <a:rPr lang="en-GB"/>
              <a:t> her</a:t>
            </a:r>
            <a:endParaRPr lang="en-NO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14C4805A-9ABA-4940-A001-D4CE128E2C4D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1429250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">
    <p:bg>
      <p:bgPr>
        <a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D543ADCB-EE89-3C4E-ABA2-011A06A7DB0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43DA0089-EBEA-8C4E-872A-6E0CD353F820}"/>
              </a:ext>
            </a:extLst>
          </p:cNvPr>
          <p:cNvSpPr/>
          <p:nvPr userDrawn="1"/>
        </p:nvSpPr>
        <p:spPr>
          <a:xfrm>
            <a:off x="2387805" y="3814762"/>
            <a:ext cx="7469928" cy="608647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04CA61D2-D9B9-F649-BC1B-3D48984DE38F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52731" y="5833766"/>
            <a:ext cx="6304968" cy="1477328"/>
          </a:xfrm>
        </p:spPr>
        <p:txBody>
          <a:bodyPr wrap="square" anchor="ctr" anchorCtr="0">
            <a:spAutoFit/>
          </a:bodyPr>
          <a:lstStyle>
            <a:lvl1pPr marL="0" indent="0">
              <a:buNone/>
              <a:defRPr sz="5000" b="1" i="0">
                <a:solidFill>
                  <a:srgbClr val="FFFFFF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Her </a:t>
            </a:r>
            <a:r>
              <a:rPr lang="en-GB" err="1"/>
              <a:t>skriver</a:t>
            </a:r>
            <a:r>
              <a:rPr lang="en-GB"/>
              <a:t> du et relevant </a:t>
            </a:r>
            <a:r>
              <a:rPr lang="en-GB" err="1"/>
              <a:t>sitat</a:t>
            </a:r>
            <a:endParaRPr lang="en-NO"/>
          </a:p>
        </p:txBody>
      </p:sp>
      <p:pic>
        <p:nvPicPr>
          <p:cNvPr id="11" name="Picture 10" descr="Icon&#10;&#10;Description automatically generated with medium confidence">
            <a:extLst>
              <a:ext uri="{FF2B5EF4-FFF2-40B4-BE49-F238E27FC236}">
                <a16:creationId xmlns:a16="http://schemas.microsoft.com/office/drawing/2014/main" id="{2831A91C-63BA-C949-AFE0-23CB18354BE0}"/>
              </a:ext>
            </a:extLst>
          </p:cNvPr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2749371" y="3243623"/>
            <a:ext cx="2336648" cy="1793358"/>
          </a:xfrm>
          <a:prstGeom prst="rect">
            <a:avLst/>
          </a:prstGeom>
        </p:spPr>
      </p:pic>
      <p:sp>
        <p:nvSpPr>
          <p:cNvPr id="12" name="Text Placeholder 81">
            <a:extLst>
              <a:ext uri="{FF2B5EF4-FFF2-40B4-BE49-F238E27FC236}">
                <a16:creationId xmlns:a16="http://schemas.microsoft.com/office/drawing/2014/main" id="{BF73B6B5-D600-1F4E-AC88-B787FB37483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14891" y="12802957"/>
            <a:ext cx="9060860" cy="862282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en-GB" err="1"/>
              <a:t>Endre</a:t>
            </a:r>
            <a:r>
              <a:rPr lang="en-GB"/>
              <a:t> </a:t>
            </a:r>
            <a:r>
              <a:rPr lang="en-GB" err="1"/>
              <a:t>bildet</a:t>
            </a:r>
            <a:r>
              <a:rPr lang="en-GB"/>
              <a:t> </a:t>
            </a:r>
            <a:r>
              <a:rPr lang="en-GB" err="1"/>
              <a:t>ved</a:t>
            </a:r>
            <a:r>
              <a:rPr lang="en-GB"/>
              <a:t> </a:t>
            </a:r>
            <a:r>
              <a:rPr lang="en-GB" err="1"/>
              <a:t>å</a:t>
            </a:r>
            <a:r>
              <a:rPr lang="en-GB"/>
              <a:t> </a:t>
            </a:r>
            <a:r>
              <a:rPr lang="en-GB" err="1"/>
              <a:t>endre</a:t>
            </a:r>
            <a:r>
              <a:rPr lang="en-GB"/>
              <a:t> </a:t>
            </a:r>
            <a:r>
              <a:rPr lang="en-GB" err="1"/>
              <a:t>bakgrunnen</a:t>
            </a:r>
            <a:endParaRPr lang="en-NO"/>
          </a:p>
        </p:txBody>
      </p:sp>
      <p:sp>
        <p:nvSpPr>
          <p:cNvPr id="8" name="Picture Placeholder 2">
            <a:extLst>
              <a:ext uri="{FF2B5EF4-FFF2-40B4-BE49-F238E27FC236}">
                <a16:creationId xmlns:a16="http://schemas.microsoft.com/office/drawing/2014/main" id="{53A2E701-AD8A-2E44-B8F2-9ABC3E5932CB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0991199" y="10526483"/>
            <a:ext cx="2276326" cy="2276474"/>
          </a:xfrm>
          <a:prstGeom prst="ellipse">
            <a:avLst/>
          </a:prstGeom>
          <a:noFill/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accent3"/>
                </a:solidFill>
              </a:defRPr>
            </a:lvl1pPr>
          </a:lstStyle>
          <a:p>
            <a:r>
              <a:rPr lang="en-NO"/>
              <a:t/>
            </a:r>
            <a:br>
              <a:rPr lang="en-NO"/>
            </a:br>
            <a:r>
              <a:rPr lang="en-NO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34243805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eks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1024F128-DA97-E047-B3F6-2894BFD313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85F628A-58F4-D642-920B-39EFB4FA56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31834" y="5041901"/>
            <a:ext cx="9797412" cy="79311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ekst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262AD6-4031-CD45-9E9A-8DD240726C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1834" y="3593349"/>
            <a:ext cx="9797412" cy="1061829"/>
          </a:xfrm>
        </p:spPr>
        <p:txBody>
          <a:bodyPr anchor="ctr">
            <a:spAutoFit/>
          </a:bodyPr>
          <a:lstStyle>
            <a:lvl1pPr marL="0" indent="0">
              <a:buNone/>
              <a:defRPr sz="7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Skriv</a:t>
            </a:r>
            <a:r>
              <a:rPr lang="en-GB"/>
              <a:t> </a:t>
            </a:r>
            <a:r>
              <a:rPr lang="en-GB" err="1"/>
              <a:t>tittel</a:t>
            </a:r>
            <a:r>
              <a:rPr lang="en-GB"/>
              <a:t> her</a:t>
            </a:r>
            <a:endParaRPr lang="en-NO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182947F-EDA7-5647-9B13-0FAFCCAEA35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2191206" y="0"/>
            <a:ext cx="12191207" cy="13716000"/>
          </a:xfr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86"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NO"/>
              <a:t>Bytt bilde her</a:t>
            </a:r>
          </a:p>
        </p:txBody>
      </p:sp>
    </p:spTree>
    <p:extLst>
      <p:ext uri="{BB962C8B-B14F-4D97-AF65-F5344CB8AC3E}">
        <p14:creationId xmlns:p14="http://schemas.microsoft.com/office/powerpoint/2010/main" val="111908876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ekst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85F628A-58F4-D642-920B-39EFB4FA56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31834" y="5041901"/>
            <a:ext cx="9797412" cy="793115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ekst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262AD6-4031-CD45-9E9A-8DD240726C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1834" y="3593349"/>
            <a:ext cx="9797412" cy="1061829"/>
          </a:xfrm>
        </p:spPr>
        <p:txBody>
          <a:bodyPr anchor="ctr">
            <a:spAutoFit/>
          </a:bodyPr>
          <a:lstStyle>
            <a:lvl1pPr marL="0" indent="0">
              <a:buNone/>
              <a:defRPr sz="70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Skriv</a:t>
            </a:r>
            <a:r>
              <a:rPr lang="en-GB"/>
              <a:t> </a:t>
            </a:r>
            <a:r>
              <a:rPr lang="en-GB" err="1"/>
              <a:t>tittel</a:t>
            </a:r>
            <a:r>
              <a:rPr lang="en-GB"/>
              <a:t> her</a:t>
            </a:r>
            <a:endParaRPr lang="en-NO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182947F-EDA7-5647-9B13-0FAFCCAEA35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2191206" y="0"/>
            <a:ext cx="12191207" cy="13716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r="86"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NO"/>
              <a:t>Bytt bilde her</a:t>
            </a:r>
          </a:p>
        </p:txBody>
      </p:sp>
      <p:pic>
        <p:nvPicPr>
          <p:cNvPr id="9" name="Picture 8" descr="Logo&#10;&#10;Description automatically generated with medium confidence">
            <a:extLst>
              <a:ext uri="{FF2B5EF4-FFF2-40B4-BE49-F238E27FC236}">
                <a16:creationId xmlns:a16="http://schemas.microsoft.com/office/drawing/2014/main" id="{537A4A6E-8D0D-0245-9F78-22E01CEE21A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055221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ekst_3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85F628A-58F4-D642-920B-39EFB4FA56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31834" y="5041901"/>
            <a:ext cx="9797412" cy="793115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ekst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262AD6-4031-CD45-9E9A-8DD240726C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1834" y="3593349"/>
            <a:ext cx="9797412" cy="1061829"/>
          </a:xfrm>
        </p:spPr>
        <p:txBody>
          <a:bodyPr anchor="ctr">
            <a:spAutoFit/>
          </a:bodyPr>
          <a:lstStyle>
            <a:lvl1pPr marL="0" indent="0">
              <a:buNone/>
              <a:defRPr sz="70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Skriv</a:t>
            </a:r>
            <a:r>
              <a:rPr lang="en-GB"/>
              <a:t> </a:t>
            </a:r>
            <a:r>
              <a:rPr lang="en-GB" err="1"/>
              <a:t>tittel</a:t>
            </a:r>
            <a:r>
              <a:rPr lang="en-GB"/>
              <a:t> her</a:t>
            </a:r>
            <a:endParaRPr lang="en-NO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182947F-EDA7-5647-9B13-0FAFCCAEA35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2191206" y="0"/>
            <a:ext cx="12191207" cy="13716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NO"/>
              <a:t>Bytt bilde her</a:t>
            </a:r>
          </a:p>
        </p:txBody>
      </p:sp>
      <p:pic>
        <p:nvPicPr>
          <p:cNvPr id="9" name="Picture 8" descr="Logo&#10;&#10;Description automatically generated with medium confidence">
            <a:extLst>
              <a:ext uri="{FF2B5EF4-FFF2-40B4-BE49-F238E27FC236}">
                <a16:creationId xmlns:a16="http://schemas.microsoft.com/office/drawing/2014/main" id="{537A4A6E-8D0D-0245-9F78-22E01CEE21A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67854324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og tekst_4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585F628A-58F4-D642-920B-39EFB4FA5629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31834" y="5041901"/>
            <a:ext cx="9797412" cy="793115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ekst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2D262AD6-4031-CD45-9E9A-8DD240726C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1834" y="3593349"/>
            <a:ext cx="9797412" cy="1061829"/>
          </a:xfrm>
        </p:spPr>
        <p:txBody>
          <a:bodyPr anchor="ctr">
            <a:spAutoFit/>
          </a:bodyPr>
          <a:lstStyle>
            <a:lvl1pPr marL="0" indent="0">
              <a:buNone/>
              <a:defRPr sz="70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Skriv</a:t>
            </a:r>
            <a:r>
              <a:rPr lang="en-GB"/>
              <a:t> </a:t>
            </a:r>
            <a:r>
              <a:rPr lang="en-GB" err="1"/>
              <a:t>tittel</a:t>
            </a:r>
            <a:r>
              <a:rPr lang="en-GB"/>
              <a:t> her</a:t>
            </a:r>
            <a:endParaRPr lang="en-NO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2182947F-EDA7-5647-9B13-0FAFCCAEA356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2191206" y="0"/>
            <a:ext cx="12191207" cy="13716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0"/>
          <a:lstStyle>
            <a:lvl1pPr marL="0" indent="0" algn="ctr">
              <a:buNone/>
              <a:defRPr/>
            </a:lvl1pPr>
          </a:lstStyle>
          <a:p>
            <a:r>
              <a:rPr lang="en-NO"/>
              <a:t>Bytt bilde her</a:t>
            </a:r>
          </a:p>
        </p:txBody>
      </p:sp>
      <p:pic>
        <p:nvPicPr>
          <p:cNvPr id="9" name="Picture 8" descr="Logo&#10;&#10;Description automatically generated with medium confidence">
            <a:extLst>
              <a:ext uri="{FF2B5EF4-FFF2-40B4-BE49-F238E27FC236}">
                <a16:creationId xmlns:a16="http://schemas.microsoft.com/office/drawing/2014/main" id="{537A4A6E-8D0D-0245-9F78-22E01CEE21A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912198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kolonner_1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F116B9-DD3E-7149-9C10-F6FEBD332A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22308" y="10124656"/>
            <a:ext cx="6400383" cy="646331"/>
          </a:xfrm>
        </p:spPr>
        <p:txBody>
          <a:bodyPr>
            <a:spAutoFit/>
          </a:bodyPr>
          <a:lstStyle>
            <a:lvl1pPr marL="0" indent="0" algn="ctr">
              <a:buNone/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/>
            </a:lvl2pPr>
            <a:lvl3pPr marL="1828709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ittel</a:t>
            </a:r>
            <a:r>
              <a:rPr lang="en-GB"/>
              <a:t> her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FAD3E39-8E11-0841-A171-31262A0C9CF4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422308" y="3266656"/>
            <a:ext cx="6400383" cy="6400800"/>
          </a:xfrm>
          <a:prstGeom prst="ellipse">
            <a:avLst/>
          </a:prstGeo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NO"/>
              <a:t>Sett inn bilde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F7467185-1B86-9547-8124-9EA16EF1E9B8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991015" y="3266656"/>
            <a:ext cx="6400383" cy="6400800"/>
          </a:xfrm>
          <a:prstGeom prst="ellipse">
            <a:avLst/>
          </a:prstGeo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NO"/>
              <a:t>Sett inn bilde</a:t>
            </a:r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6CFB7A37-A6E9-994C-929F-E4F8E8AD6BE9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6559722" y="3266656"/>
            <a:ext cx="6400383" cy="6400800"/>
          </a:xfrm>
          <a:prstGeom prst="ellipse">
            <a:avLst/>
          </a:prstGeo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NO"/>
              <a:t>Sett inn bild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BBC220A-599E-324F-9689-39CBFCD8AD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91015" y="10111398"/>
            <a:ext cx="6400383" cy="646331"/>
          </a:xfrm>
        </p:spPr>
        <p:txBody>
          <a:bodyPr>
            <a:spAutoFit/>
          </a:bodyPr>
          <a:lstStyle>
            <a:lvl1pPr marL="0" indent="0" algn="ctr">
              <a:buNone/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/>
            </a:lvl2pPr>
            <a:lvl3pPr marL="1828709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ittel</a:t>
            </a:r>
            <a:r>
              <a:rPr lang="en-GB"/>
              <a:t> her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A1970D2-8F00-7A4D-8CD4-6E32088683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559722" y="10124656"/>
            <a:ext cx="6400383" cy="646331"/>
          </a:xfrm>
        </p:spPr>
        <p:txBody>
          <a:bodyPr>
            <a:spAutoFit/>
          </a:bodyPr>
          <a:lstStyle>
            <a:lvl1pPr marL="0" indent="0" algn="ctr">
              <a:buNone/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/>
            </a:lvl2pPr>
            <a:lvl3pPr marL="1828709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ittel</a:t>
            </a:r>
            <a:r>
              <a:rPr lang="en-GB"/>
              <a:t> her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D026741-B5E8-BE43-A718-84ED060069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32756608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kolonner_2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6F116B9-DD3E-7149-9C10-F6FEBD332A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422308" y="10124656"/>
            <a:ext cx="6400383" cy="646331"/>
          </a:xfrm>
        </p:spPr>
        <p:txBody>
          <a:bodyPr>
            <a:spAutoFit/>
          </a:bodyPr>
          <a:lstStyle>
            <a:lvl1pPr marL="0" indent="0" algn="ctr">
              <a:buNone/>
              <a:defRPr sz="40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/>
            </a:lvl2pPr>
            <a:lvl3pPr marL="1828709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ittel</a:t>
            </a:r>
            <a:r>
              <a:rPr lang="en-GB"/>
              <a:t> her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FAD3E39-8E11-0841-A171-31262A0C9CF4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422308" y="3266656"/>
            <a:ext cx="6400383" cy="6400800"/>
          </a:xfrm>
          <a:prstGeom prst="ellipse">
            <a:avLst/>
          </a:prstGeo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NO"/>
              <a:t>Sett inn bilde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F7467185-1B86-9547-8124-9EA16EF1E9B8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991015" y="3266656"/>
            <a:ext cx="6400383" cy="6400800"/>
          </a:xfrm>
          <a:prstGeom prst="ellipse">
            <a:avLst/>
          </a:prstGeo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NO"/>
              <a:t>Sett inn bilde</a:t>
            </a:r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6CFB7A37-A6E9-994C-929F-E4F8E8AD6BE9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6559722" y="3266656"/>
            <a:ext cx="6400383" cy="6400800"/>
          </a:xfrm>
          <a:prstGeom prst="ellipse">
            <a:avLst/>
          </a:prstGeo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NO"/>
              <a:t>Sett inn bilde</a:t>
            </a:r>
          </a:p>
        </p:txBody>
      </p:sp>
      <p:sp>
        <p:nvSpPr>
          <p:cNvPr id="14" name="Text Placeholder 2">
            <a:extLst>
              <a:ext uri="{FF2B5EF4-FFF2-40B4-BE49-F238E27FC236}">
                <a16:creationId xmlns:a16="http://schemas.microsoft.com/office/drawing/2014/main" id="{2BBC220A-599E-324F-9689-39CBFCD8AD2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991015" y="10111398"/>
            <a:ext cx="6400383" cy="646331"/>
          </a:xfrm>
        </p:spPr>
        <p:txBody>
          <a:bodyPr>
            <a:spAutoFit/>
          </a:bodyPr>
          <a:lstStyle>
            <a:lvl1pPr marL="0" indent="0" algn="ctr">
              <a:buNone/>
              <a:defRPr sz="40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/>
            </a:lvl2pPr>
            <a:lvl3pPr marL="1828709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ittel</a:t>
            </a:r>
            <a:r>
              <a:rPr lang="en-GB"/>
              <a:t> her</a:t>
            </a:r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FA1970D2-8F00-7A4D-8CD4-6E32088683D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559722" y="10124656"/>
            <a:ext cx="6400383" cy="646331"/>
          </a:xfrm>
        </p:spPr>
        <p:txBody>
          <a:bodyPr>
            <a:spAutoFit/>
          </a:bodyPr>
          <a:lstStyle>
            <a:lvl1pPr marL="0" indent="0" algn="ctr">
              <a:buNone/>
              <a:defRPr sz="4000" b="1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/>
            </a:lvl2pPr>
            <a:lvl3pPr marL="1828709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ittel</a:t>
            </a:r>
            <a:r>
              <a:rPr lang="en-GB"/>
              <a:t> her</a:t>
            </a:r>
          </a:p>
        </p:txBody>
      </p:sp>
      <p:pic>
        <p:nvPicPr>
          <p:cNvPr id="15" name="Picture 14" descr="Logo&#10;&#10;Description automatically generated with medium confidence">
            <a:extLst>
              <a:ext uri="{FF2B5EF4-FFF2-40B4-BE49-F238E27FC236}">
                <a16:creationId xmlns:a16="http://schemas.microsoft.com/office/drawing/2014/main" id="{02562FC2-54F8-6648-95BE-39629430548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1050368"/>
            <a:ext cx="3599766" cy="3600000"/>
          </a:xfrm>
          <a:prstGeom prst="rect">
            <a:avLst/>
          </a:prstGeom>
        </p:spPr>
      </p:pic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FC86944D-64D5-254A-A327-C7DD845ACE8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422308" y="11187338"/>
            <a:ext cx="6400383" cy="590931"/>
          </a:xfrm>
        </p:spPr>
        <p:txBody>
          <a:bodyPr>
            <a:spAutoFit/>
          </a:bodyPr>
          <a:lstStyle>
            <a:lvl1pPr marL="0" indent="0" algn="ctr">
              <a:buNone/>
              <a:defRPr sz="36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/>
            </a:lvl2pPr>
            <a:lvl3pPr marL="1828709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en-GB" err="1"/>
              <a:t>Tekst</a:t>
            </a:r>
            <a:r>
              <a:rPr lang="en-GB"/>
              <a:t> her</a:t>
            </a:r>
          </a:p>
        </p:txBody>
      </p:sp>
      <p:sp>
        <p:nvSpPr>
          <p:cNvPr id="18" name="Text Placeholder 2">
            <a:extLst>
              <a:ext uri="{FF2B5EF4-FFF2-40B4-BE49-F238E27FC236}">
                <a16:creationId xmlns:a16="http://schemas.microsoft.com/office/drawing/2014/main" id="{5A33CB64-794D-FD4F-9E6E-6B8DBE246C2B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34727" y="11187338"/>
            <a:ext cx="6400383" cy="590931"/>
          </a:xfrm>
        </p:spPr>
        <p:txBody>
          <a:bodyPr>
            <a:spAutoFit/>
          </a:bodyPr>
          <a:lstStyle>
            <a:lvl1pPr marL="0" indent="0" algn="ctr">
              <a:buNone/>
              <a:defRPr sz="36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/>
            </a:lvl2pPr>
            <a:lvl3pPr marL="1828709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en-GB" err="1"/>
              <a:t>Tekst</a:t>
            </a:r>
            <a:r>
              <a:rPr lang="en-GB"/>
              <a:t> her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B8290770-7830-F04F-946F-282032E9C4B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6545993" y="11187338"/>
            <a:ext cx="6400383" cy="590931"/>
          </a:xfrm>
        </p:spPr>
        <p:txBody>
          <a:bodyPr>
            <a:spAutoFit/>
          </a:bodyPr>
          <a:lstStyle>
            <a:lvl1pPr marL="0" indent="0" algn="ctr">
              <a:buNone/>
              <a:defRPr sz="3600" b="0" i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/>
            </a:lvl2pPr>
            <a:lvl3pPr marL="1828709" indent="0">
              <a:buNone/>
              <a:defRPr/>
            </a:lvl3pPr>
            <a:lvl4pPr marL="2743063" indent="0">
              <a:buNone/>
              <a:defRPr/>
            </a:lvl4pPr>
            <a:lvl5pPr marL="3657417" indent="0">
              <a:buNone/>
              <a:defRPr/>
            </a:lvl5pPr>
          </a:lstStyle>
          <a:p>
            <a:pPr lvl="0"/>
            <a:r>
              <a:rPr lang="en-GB" err="1"/>
              <a:t>Tekst</a:t>
            </a:r>
            <a:r>
              <a:rPr lang="en-GB"/>
              <a:t> her</a:t>
            </a:r>
          </a:p>
        </p:txBody>
      </p:sp>
    </p:spTree>
    <p:extLst>
      <p:ext uri="{BB962C8B-B14F-4D97-AF65-F5344CB8AC3E}">
        <p14:creationId xmlns:p14="http://schemas.microsoft.com/office/powerpoint/2010/main" val="137861861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kolonner_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1FAD3E39-8E11-0841-A171-31262A0C9CF4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422308" y="3266656"/>
            <a:ext cx="6400383" cy="6400800"/>
          </a:xfrm>
          <a:prstGeom prst="ellipse">
            <a:avLst/>
          </a:prstGeo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NO"/>
              <a:t>Endre ikon</a:t>
            </a:r>
          </a:p>
        </p:txBody>
      </p:sp>
      <p:sp>
        <p:nvSpPr>
          <p:cNvPr id="11" name="Picture Placeholder 5">
            <a:extLst>
              <a:ext uri="{FF2B5EF4-FFF2-40B4-BE49-F238E27FC236}">
                <a16:creationId xmlns:a16="http://schemas.microsoft.com/office/drawing/2014/main" id="{F7467185-1B86-9547-8124-9EA16EF1E9B8}"/>
              </a:ext>
            </a:extLst>
          </p:cNvPr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8991015" y="3266656"/>
            <a:ext cx="6400383" cy="6400800"/>
          </a:xfrm>
          <a:prstGeom prst="ellipse">
            <a:avLst/>
          </a:prstGeo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NO"/>
              <a:t>Endre ikon</a:t>
            </a:r>
          </a:p>
        </p:txBody>
      </p:sp>
      <p:sp>
        <p:nvSpPr>
          <p:cNvPr id="12" name="Picture Placeholder 5">
            <a:extLst>
              <a:ext uri="{FF2B5EF4-FFF2-40B4-BE49-F238E27FC236}">
                <a16:creationId xmlns:a16="http://schemas.microsoft.com/office/drawing/2014/main" id="{6CFB7A37-A6E9-994C-929F-E4F8E8AD6BE9}"/>
              </a:ext>
            </a:extLst>
          </p:cNvPr>
          <p:cNvSpPr>
            <a:spLocks noGrp="1" noChangeAspect="1"/>
          </p:cNvSpPr>
          <p:nvPr>
            <p:ph type="pic" sz="quarter" idx="13" hasCustomPrompt="1"/>
          </p:nvPr>
        </p:nvSpPr>
        <p:spPr>
          <a:xfrm>
            <a:off x="16559722" y="3266656"/>
            <a:ext cx="6400383" cy="6400800"/>
          </a:xfrm>
          <a:prstGeom prst="ellipse">
            <a:avLst/>
          </a:prstGeom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NO"/>
              <a:t>Endre ikon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D026741-B5E8-BE43-A718-84ED060069B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758D1B5-DB4B-8649-898E-4890D6A288B6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22308" y="10888456"/>
            <a:ext cx="21754682" cy="2385756"/>
          </a:xfrm>
        </p:spPr>
        <p:txBody>
          <a:bodyPr>
            <a:normAutofit/>
          </a:bodyPr>
          <a:lstStyle>
            <a:lvl1pPr>
              <a:defRPr sz="480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Skriv</a:t>
            </a:r>
            <a:r>
              <a:rPr lang="en-GB"/>
              <a:t> inn </a:t>
            </a:r>
            <a:r>
              <a:rPr lang="en-GB" err="1"/>
              <a:t>tekst</a:t>
            </a:r>
            <a:r>
              <a:rPr lang="en-GB"/>
              <a:t> her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40575947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+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2" name="Stående form 5">
            <a:extLst>
              <a:ext uri="{FF2B5EF4-FFF2-40B4-BE49-F238E27FC236}">
                <a16:creationId xmlns:a16="http://schemas.microsoft.com/office/drawing/2014/main" id="{7CF8F35D-9353-41A1-B640-CF36302C9EE1}"/>
              </a:ext>
            </a:extLst>
          </p:cNvPr>
          <p:cNvGrpSpPr/>
          <p:nvPr userDrawn="1"/>
        </p:nvGrpSpPr>
        <p:grpSpPr>
          <a:xfrm>
            <a:off x="17524413" y="0"/>
            <a:ext cx="6858000" cy="13716000"/>
            <a:chOff x="17519650" y="0"/>
            <a:chExt cx="6858000" cy="13716000"/>
          </a:xfrm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D5DCE1B5-9345-4905-800A-576635B4B82C}"/>
                </a:ext>
              </a:extLst>
            </p:cNvPr>
            <p:cNvSpPr/>
            <p:nvPr/>
          </p:nvSpPr>
          <p:spPr>
            <a:xfrm>
              <a:off x="17519650" y="0"/>
              <a:ext cx="6858000" cy="13716000"/>
            </a:xfrm>
            <a:custGeom>
              <a:avLst/>
              <a:gdLst>
                <a:gd name="connsiteX0" fmla="*/ 0 w 6858000"/>
                <a:gd name="connsiteY0" fmla="*/ 0 h 13716000"/>
                <a:gd name="connsiteX1" fmla="*/ 6858000 w 6858000"/>
                <a:gd name="connsiteY1" fmla="*/ 0 h 13716000"/>
                <a:gd name="connsiteX2" fmla="*/ 6858000 w 6858000"/>
                <a:gd name="connsiteY2" fmla="*/ 13716000 h 13716000"/>
                <a:gd name="connsiteX3" fmla="*/ 0 w 6858000"/>
                <a:gd name="connsiteY3" fmla="*/ 1371600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8000" h="13716000">
                  <a:moveTo>
                    <a:pt x="0" y="0"/>
                  </a:moveTo>
                  <a:lnTo>
                    <a:pt x="6858000" y="0"/>
                  </a:lnTo>
                  <a:lnTo>
                    <a:pt x="6858000" y="13716000"/>
                  </a:lnTo>
                  <a:lnTo>
                    <a:pt x="0" y="13716000"/>
                  </a:lnTo>
                  <a:close/>
                </a:path>
              </a:pathLst>
            </a:custGeom>
            <a:solidFill>
              <a:schemeClr val="accent1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6A9A4852-B4FC-41C6-BC42-67E1EB678D40}"/>
                </a:ext>
              </a:extLst>
            </p:cNvPr>
            <p:cNvSpPr/>
            <p:nvPr/>
          </p:nvSpPr>
          <p:spPr>
            <a:xfrm>
              <a:off x="17519650" y="0"/>
              <a:ext cx="6858000" cy="13716000"/>
            </a:xfrm>
            <a:custGeom>
              <a:avLst/>
              <a:gdLst>
                <a:gd name="connsiteX0" fmla="*/ 3429000 w 6858000"/>
                <a:gd name="connsiteY0" fmla="*/ 0 h 13716000"/>
                <a:gd name="connsiteX1" fmla="*/ 0 w 6858000"/>
                <a:gd name="connsiteY1" fmla="*/ 0 h 13716000"/>
                <a:gd name="connsiteX2" fmla="*/ 0 w 6858000"/>
                <a:gd name="connsiteY2" fmla="*/ 13716000 h 13716000"/>
                <a:gd name="connsiteX3" fmla="*/ 3429000 w 6858000"/>
                <a:gd name="connsiteY3" fmla="*/ 6858000 h 13716000"/>
                <a:gd name="connsiteX4" fmla="*/ 5486400 w 6858000"/>
                <a:gd name="connsiteY4" fmla="*/ 8229600 h 13716000"/>
                <a:gd name="connsiteX5" fmla="*/ 6858000 w 6858000"/>
                <a:gd name="connsiteY5" fmla="*/ 6858000 h 13716000"/>
                <a:gd name="connsiteX6" fmla="*/ 6692900 w 6858000"/>
                <a:gd name="connsiteY6" fmla="*/ 5596128 h 13716000"/>
                <a:gd name="connsiteX7" fmla="*/ 3429000 w 6858000"/>
                <a:gd name="connsiteY7" fmla="*/ 0 h 13716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6858000" h="13716000">
                  <a:moveTo>
                    <a:pt x="3429000" y="0"/>
                  </a:moveTo>
                  <a:lnTo>
                    <a:pt x="0" y="0"/>
                  </a:lnTo>
                  <a:lnTo>
                    <a:pt x="0" y="13716000"/>
                  </a:lnTo>
                  <a:cubicBezTo>
                    <a:pt x="2949575" y="13706729"/>
                    <a:pt x="3429000" y="8291069"/>
                    <a:pt x="3429000" y="6858000"/>
                  </a:cubicBezTo>
                  <a:cubicBezTo>
                    <a:pt x="3429000" y="7257034"/>
                    <a:pt x="4685157" y="8229600"/>
                    <a:pt x="5486400" y="8229600"/>
                  </a:cubicBezTo>
                  <a:cubicBezTo>
                    <a:pt x="6453505" y="8229600"/>
                    <a:pt x="6858000" y="7724521"/>
                    <a:pt x="6858000" y="6858000"/>
                  </a:cubicBezTo>
                  <a:cubicBezTo>
                    <a:pt x="6858000" y="6477000"/>
                    <a:pt x="6847332" y="6143244"/>
                    <a:pt x="6692900" y="5596128"/>
                  </a:cubicBezTo>
                  <a:cubicBezTo>
                    <a:pt x="6293739" y="4175633"/>
                    <a:pt x="3429000" y="0"/>
                    <a:pt x="3429000" y="0"/>
                  </a:cubicBezTo>
                  <a:close/>
                </a:path>
              </a:pathLst>
            </a:custGeom>
            <a:solidFill>
              <a:schemeClr val="accent5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4" y="3981599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6A70C43-E7CB-4D91-B739-55E43F263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0163E0A-6D72-4F46-A59E-F6B3A730B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7DCB8B-75D1-4E5A-9008-E6CD4538A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Tonje Lorem - Avdelingsleder</a:t>
            </a:r>
            <a:endParaRPr lang="nb-NO" dirty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98A5015-B64B-43EC-A212-5090ED7FE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5497888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_sita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97EA06D-8CCE-D447-949E-25ACACD831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31835" y="7573618"/>
            <a:ext cx="8434195" cy="5399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ekst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24537BCE-DE59-5F41-A11B-54A1FDF23A66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1835" y="4800901"/>
            <a:ext cx="8434195" cy="2031325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70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/>
              <a:t>Her </a:t>
            </a:r>
            <a:r>
              <a:rPr lang="en-GB" err="1"/>
              <a:t>skriver</a:t>
            </a:r>
            <a:r>
              <a:rPr lang="en-GB"/>
              <a:t> du et relevant </a:t>
            </a:r>
            <a:r>
              <a:rPr lang="en-GB" err="1"/>
              <a:t>sitat</a:t>
            </a:r>
            <a:endParaRPr lang="en-NO"/>
          </a:p>
        </p:txBody>
      </p:sp>
      <p:pic>
        <p:nvPicPr>
          <p:cNvPr id="4" name="Picture 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4DD29304-9550-4845-8266-2FF87A54622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31833" y="2500361"/>
            <a:ext cx="2151792" cy="1651482"/>
          </a:xfrm>
          <a:prstGeom prst="rect">
            <a:avLst/>
          </a:prstGeom>
        </p:spPr>
      </p:pic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EEAF110-F8B3-CE43-9A62-1744E70E658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275443" y="0"/>
            <a:ext cx="8013078" cy="13716000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>
            <a:noAutofit/>
          </a:bodyPr>
          <a:lstStyle>
            <a:lvl1pPr marL="0" indent="0" algn="l">
              <a:buNone/>
              <a:defRPr/>
            </a:lvl1pPr>
          </a:lstStyle>
          <a:p>
            <a:r>
              <a:rPr lang="en-NO"/>
              <a:t>Trykk her for å bytte bild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BA92FF1-DD7E-8044-BBEA-D6E42F7B045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8286810" y="1"/>
            <a:ext cx="6105435" cy="6857998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/>
          <a:lstStyle>
            <a:lvl1pPr marL="0" marR="0" indent="0" algn="ctr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NO"/>
              <a:t>Trykk her for å bytte bild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F55A997A-6A33-DC45-B518-F8F26410422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8286810" y="6858000"/>
            <a:ext cx="6105435" cy="6858000"/>
          </a:xfrm>
          <a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/>
          <a:lstStyle>
            <a:lvl1pPr marL="0" marR="0" indent="0" algn="ctr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NO"/>
              <a:t>Trykk her for å bytte bilde</a:t>
            </a:r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744FA8DC-2E05-1A47-8E8E-0DD53CF49E1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788855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_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97EA06D-8CCE-D447-949E-25ACACD831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31835" y="6267334"/>
            <a:ext cx="8434195" cy="5399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ekst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EEAF110-F8B3-CE43-9A62-1744E70E658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275443" y="0"/>
            <a:ext cx="8013078" cy="13716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>
            <a:noAutofit/>
          </a:bodyPr>
          <a:lstStyle>
            <a:lvl1pPr marL="0" indent="0" algn="l">
              <a:buNone/>
              <a:defRPr/>
            </a:lvl1pPr>
          </a:lstStyle>
          <a:p>
            <a:r>
              <a:rPr lang="en-NO"/>
              <a:t>Trykk her for å bytte bild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BA92FF1-DD7E-8044-BBEA-D6E42F7B045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8286810" y="1"/>
            <a:ext cx="6105435" cy="685799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/>
          <a:lstStyle>
            <a:lvl1pPr marL="0" marR="0" indent="0" algn="ctr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NO"/>
              <a:t>Trykk her for å bytte bild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F55A997A-6A33-DC45-B518-F8F26410422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8286810" y="6858000"/>
            <a:ext cx="6105435" cy="6858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/>
          <a:lstStyle>
            <a:lvl1pPr marL="0" marR="0" indent="0" algn="ctr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NO"/>
              <a:t>Trykk her for å bytte bild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6E7E2D-E149-274D-9320-58F7DD186E4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C3AAA6A-BF58-1049-8C08-B8C8F1403B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1835" y="4800901"/>
            <a:ext cx="8434195" cy="1061829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70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NO"/>
              <a:t>Sett inn titt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5AE842-E41D-3E4D-97F0-AEE0D7EF416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431834" y="10626727"/>
            <a:ext cx="2276326" cy="2276474"/>
          </a:xfrm>
          <a:prstGeom prst="ellipse">
            <a:avLst/>
          </a:prstGeom>
          <a:noFill/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accent3"/>
                </a:solidFill>
              </a:defRPr>
            </a:lvl1pPr>
          </a:lstStyle>
          <a:p>
            <a:r>
              <a:rPr lang="en-NO"/>
              <a:t/>
            </a:r>
            <a:br>
              <a:rPr lang="en-NO"/>
            </a:br>
            <a:r>
              <a:rPr lang="en-NO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193490718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lage_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97EA06D-8CCE-D447-949E-25ACACD831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31835" y="6267334"/>
            <a:ext cx="8434195" cy="539943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ekst</a:t>
            </a:r>
            <a:endParaRPr lang="en-GB"/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  <a:endParaRPr lang="en-NO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EEAF110-F8B3-CE43-9A62-1744E70E658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10275443" y="0"/>
            <a:ext cx="8013078" cy="13716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>
            <a:noAutofit/>
          </a:bodyPr>
          <a:lstStyle>
            <a:lvl1pPr marL="0" indent="0" algn="l">
              <a:buNone/>
              <a:defRPr/>
            </a:lvl1pPr>
          </a:lstStyle>
          <a:p>
            <a:r>
              <a:rPr lang="en-NO"/>
              <a:t>Trykk her for å bytte bild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BA92FF1-DD7E-8044-BBEA-D6E42F7B045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8286810" y="1"/>
            <a:ext cx="6105435" cy="6857998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/>
          <a:lstStyle>
            <a:lvl1pPr marL="0" marR="0" indent="0" algn="ctr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NO"/>
              <a:t>Trykk her for å bytte bild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F55A997A-6A33-DC45-B518-F8F26410422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8286810" y="6858000"/>
            <a:ext cx="6105435" cy="6858000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/>
          <a:lstStyle>
            <a:lvl1pPr marL="0" marR="0" indent="0" algn="ctr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NO"/>
              <a:t>Trykk her for å bytte bild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66E7E2D-E149-274D-9320-58F7DD186E45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C3AAA6A-BF58-1049-8C08-B8C8F1403B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1835" y="4800901"/>
            <a:ext cx="8434195" cy="1061829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70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NO"/>
              <a:t>Sett inn titt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5AE842-E41D-3E4D-97F0-AEE0D7EF416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1431834" y="10626727"/>
            <a:ext cx="2276326" cy="2276474"/>
          </a:xfrm>
          <a:prstGeom prst="ellipse">
            <a:avLst/>
          </a:prstGeom>
          <a:noFill/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accent3"/>
                </a:solidFill>
              </a:defRPr>
            </a:lvl1pPr>
          </a:lstStyle>
          <a:p>
            <a:r>
              <a:rPr lang="en-NO"/>
              <a:t/>
            </a:r>
            <a:br>
              <a:rPr lang="en-NO"/>
            </a:br>
            <a:r>
              <a:rPr lang="en-NO"/>
              <a:t>Ikon</a:t>
            </a:r>
          </a:p>
        </p:txBody>
      </p:sp>
    </p:spTree>
    <p:extLst>
      <p:ext uri="{BB962C8B-B14F-4D97-AF65-F5344CB8AC3E}">
        <p14:creationId xmlns:p14="http://schemas.microsoft.com/office/powerpoint/2010/main" val="2462995565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layout_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597EA06D-8CCE-D447-949E-25ACACD83172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431834" y="3764618"/>
            <a:ext cx="21484548" cy="2721572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 marL="914354" indent="0">
              <a:buNone/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ekst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2EEAF110-F8B3-CE43-9A62-1744E70E658E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-1" y="6690168"/>
            <a:ext cx="10692406" cy="7025832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>
            <a:noAutofit/>
          </a:bodyPr>
          <a:lstStyle>
            <a:lvl1pPr marL="0" indent="0" algn="l">
              <a:buNone/>
              <a:defRPr/>
            </a:lvl1pPr>
          </a:lstStyle>
          <a:p>
            <a:r>
              <a:rPr lang="en-NO"/>
              <a:t>Trykk her for å bytte bild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CBA92FF1-DD7E-8044-BBEA-D6E42F7B0455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10692407" y="6690168"/>
            <a:ext cx="7400776" cy="7025832"/>
          </a:xfrm>
          <a:blipFill dpi="0" rotWithShape="1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/>
          <a:lstStyle>
            <a:lvl1pPr marL="0" marR="0" indent="0" algn="ctr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NO"/>
              <a:t>Trykk her for å bytte bild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F55A997A-6A33-DC45-B518-F8F264104223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18093183" y="6690169"/>
            <a:ext cx="6299060" cy="3357474"/>
          </a:xfr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/>
          <a:lstStyle>
            <a:lvl1pPr marL="0" marR="0" indent="0" algn="ctr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NO"/>
              <a:t>Trykk her for å bytte bilde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8C3AAA6A-BF58-1049-8C08-B8C8F1403B4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1431834" y="2298185"/>
            <a:ext cx="21484548" cy="1061829"/>
          </a:xfrm>
        </p:spPr>
        <p:txBody>
          <a:bodyPr wrap="square" anchor="t" anchorCtr="0">
            <a:spAutoFit/>
          </a:bodyPr>
          <a:lstStyle>
            <a:lvl1pPr marL="0" indent="0">
              <a:buNone/>
              <a:defRPr sz="7000" b="1" i="0">
                <a:solidFill>
                  <a:srgbClr val="FFFFFF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NO"/>
              <a:t>Sett inn tittel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B5AE842-E41D-3E4D-97F0-AEE0D7EF4165}"/>
              </a:ext>
            </a:extLst>
          </p:cNvPr>
          <p:cNvSpPr>
            <a:spLocks noGrp="1"/>
          </p:cNvSpPr>
          <p:nvPr>
            <p:ph type="pic" sz="quarter" idx="16" hasCustomPrompt="1"/>
          </p:nvPr>
        </p:nvSpPr>
        <p:spPr>
          <a:xfrm>
            <a:off x="20674255" y="749633"/>
            <a:ext cx="2276326" cy="2276474"/>
          </a:xfrm>
          <a:prstGeom prst="ellipse">
            <a:avLst/>
          </a:prstGeom>
          <a:noFill/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accent3"/>
                </a:solidFill>
              </a:defRPr>
            </a:lvl1pPr>
          </a:lstStyle>
          <a:p>
            <a:r>
              <a:rPr lang="en-NO"/>
              <a:t/>
            </a:r>
            <a:br>
              <a:rPr lang="en-NO"/>
            </a:br>
            <a:r>
              <a:rPr lang="en-NO"/>
              <a:t>Ikon</a:t>
            </a:r>
          </a:p>
        </p:txBody>
      </p:sp>
      <p:pic>
        <p:nvPicPr>
          <p:cNvPr id="10" name="Picture 9" descr="Logo&#10;&#10;Description automatically generated with medium confidence">
            <a:extLst>
              <a:ext uri="{FF2B5EF4-FFF2-40B4-BE49-F238E27FC236}">
                <a16:creationId xmlns:a16="http://schemas.microsoft.com/office/drawing/2014/main" id="{5F0FCE7D-8C5B-B647-92B2-13F60862E45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1050368"/>
            <a:ext cx="3599766" cy="3600000"/>
          </a:xfrm>
          <a:prstGeom prst="rect">
            <a:avLst/>
          </a:prstGeom>
        </p:spPr>
      </p:pic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BCE99F9B-B9E9-6C40-8244-5E474A7C618E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18093183" y="10095824"/>
            <a:ext cx="6299060" cy="3568960"/>
          </a:xfrm>
          <a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/>
          <a:lstStyle>
            <a:lvl1pPr marL="0" marR="0" indent="0" algn="ctr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n-NO"/>
              <a:t>Trykk her for å bytte bilde</a:t>
            </a:r>
          </a:p>
        </p:txBody>
      </p:sp>
    </p:spTree>
    <p:extLst>
      <p:ext uri="{BB962C8B-B14F-4D97-AF65-F5344CB8AC3E}">
        <p14:creationId xmlns:p14="http://schemas.microsoft.com/office/powerpoint/2010/main" val="73019733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kk_1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AF325AD-0993-F24E-BF6E-75EBA90F8B0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5988259" y="0"/>
            <a:ext cx="8394654" cy="13716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NO"/>
              <a:t>Bytt bilde her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1CD5873-4996-1740-ABB8-2DAB4C13ED9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217957" y="1736372"/>
            <a:ext cx="2068729" cy="206886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anchor="ctr" anchorCtr="1">
            <a:normAutofit/>
          </a:bodyPr>
          <a:lstStyle>
            <a:lvl1pPr marL="0" indent="0">
              <a:buNone/>
              <a:defRPr sz="2400"/>
            </a:lvl1pPr>
          </a:lstStyle>
          <a:p>
            <a:r>
              <a:rPr lang="en-NO"/>
              <a:t>Endre ikon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0D82F01F-F063-EA45-B035-6CD0713F73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7491" y="2436743"/>
            <a:ext cx="11158158" cy="1061829"/>
          </a:xfrm>
        </p:spPr>
        <p:txBody>
          <a:bodyPr wrap="square" anchor="ctr">
            <a:spAutoFit/>
          </a:bodyPr>
          <a:lstStyle>
            <a:lvl1pPr marL="0" indent="0">
              <a:buNone/>
              <a:defRPr sz="70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Skriv</a:t>
            </a:r>
            <a:r>
              <a:rPr lang="en-GB"/>
              <a:t> inn </a:t>
            </a:r>
            <a:r>
              <a:rPr lang="en-GB" err="1"/>
              <a:t>tittel</a:t>
            </a:r>
            <a:r>
              <a:rPr lang="en-GB"/>
              <a:t> her</a:t>
            </a:r>
            <a:endParaRPr lang="en-NO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D8CB2F0-4732-4042-A2B6-8A025B5C7BE3}"/>
              </a:ext>
            </a:extLst>
          </p:cNvPr>
          <p:cNvSpPr/>
          <p:nvPr userDrawn="1"/>
        </p:nvSpPr>
        <p:spPr>
          <a:xfrm>
            <a:off x="1217958" y="4438403"/>
            <a:ext cx="3608755" cy="361035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A308449-72EE-2C48-AFCD-C629C50833B0}"/>
              </a:ext>
            </a:extLst>
          </p:cNvPr>
          <p:cNvSpPr/>
          <p:nvPr userDrawn="1"/>
        </p:nvSpPr>
        <p:spPr>
          <a:xfrm>
            <a:off x="6036780" y="4438403"/>
            <a:ext cx="3608755" cy="361035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C028622-F57E-5F4A-9D07-7256022CF969}"/>
              </a:ext>
            </a:extLst>
          </p:cNvPr>
          <p:cNvSpPr/>
          <p:nvPr userDrawn="1"/>
        </p:nvSpPr>
        <p:spPr>
          <a:xfrm>
            <a:off x="10855602" y="4438403"/>
            <a:ext cx="3608755" cy="361035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7E0EF21-0C8C-8345-83FF-7C3AAFE02BD8}"/>
              </a:ext>
            </a:extLst>
          </p:cNvPr>
          <p:cNvSpPr/>
          <p:nvPr userDrawn="1"/>
        </p:nvSpPr>
        <p:spPr>
          <a:xfrm>
            <a:off x="1217958" y="8741299"/>
            <a:ext cx="3608755" cy="361035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6447940-9EE9-954D-A452-17664AC516EA}"/>
              </a:ext>
            </a:extLst>
          </p:cNvPr>
          <p:cNvSpPr/>
          <p:nvPr userDrawn="1"/>
        </p:nvSpPr>
        <p:spPr>
          <a:xfrm>
            <a:off x="6036780" y="8741299"/>
            <a:ext cx="3608755" cy="361035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591F3B0-F57A-9A44-BECE-4A77B0C880D4}"/>
              </a:ext>
            </a:extLst>
          </p:cNvPr>
          <p:cNvSpPr/>
          <p:nvPr userDrawn="1"/>
        </p:nvSpPr>
        <p:spPr>
          <a:xfrm>
            <a:off x="10855602" y="8741299"/>
            <a:ext cx="3608755" cy="361035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19D76CD-65CF-BA4B-990E-0411E7BD300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799CD1-9A1E-5148-A069-257F4EA98F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19121" y="5606714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E738891-7E09-594D-A0BC-9645B524A8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9121" y="6695286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11B516B-62AD-B245-AF53-C0F2B10CEF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23036" y="5606714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2FCFDE5-57D9-C648-A0D7-00006266E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23036" y="6695286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432775E-836D-6A4A-B169-98CD120C9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55978" y="5606714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62D8A76-5EEC-3A4D-B442-F76058202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55978" y="6695286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CED8D9F-6A71-D242-8E7E-044310946C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32864" y="9890686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9E79321-495C-A54B-948D-35B878513A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32864" y="10979258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E5B3239-3B82-4C47-9603-710D7A9957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36779" y="9890686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24B77D07-DC28-3A4A-9B85-011D94D55B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6779" y="10979258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CBDA160-D034-2E4C-9077-4D7CB888CB5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869721" y="9890686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E3B14192-E43A-E945-AB8F-4CC9F91EF36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869721" y="10979258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63712640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kk_2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3AF325AD-0993-F24E-BF6E-75EBA90F8B05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5988259" y="0"/>
            <a:ext cx="8394654" cy="13716000"/>
          </a:xfrm>
          <a:blipFill dpi="0"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NO"/>
              <a:t>Bytt bilde her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1CD5873-4996-1740-ABB8-2DAB4C13ED9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217957" y="1736372"/>
            <a:ext cx="2068729" cy="2068864"/>
          </a:xfrm>
          <a:blipFill dpi="0" rotWithShape="1">
            <a:blip r:embed="rId3"/>
            <a:srcRect/>
            <a:stretch>
              <a:fillRect/>
            </a:stretch>
          </a:blipFill>
        </p:spPr>
        <p:txBody>
          <a:bodyPr anchor="ctr" anchorCtr="1">
            <a:normAutofit/>
          </a:bodyPr>
          <a:lstStyle>
            <a:lvl1pPr marL="0" indent="0">
              <a:buNone/>
              <a:defRPr sz="2400"/>
            </a:lvl1pPr>
          </a:lstStyle>
          <a:p>
            <a:r>
              <a:rPr lang="en-NO"/>
              <a:t>Endre ikon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0D82F01F-F063-EA45-B035-6CD0713F73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7491" y="2436743"/>
            <a:ext cx="11158158" cy="1061829"/>
          </a:xfrm>
        </p:spPr>
        <p:txBody>
          <a:bodyPr wrap="square" anchor="ctr">
            <a:spAutoFit/>
          </a:bodyPr>
          <a:lstStyle>
            <a:lvl1pPr marL="0" indent="0">
              <a:buNone/>
              <a:defRPr sz="70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Skriv</a:t>
            </a:r>
            <a:r>
              <a:rPr lang="en-GB"/>
              <a:t> inn </a:t>
            </a:r>
            <a:r>
              <a:rPr lang="en-GB" err="1"/>
              <a:t>tittel</a:t>
            </a:r>
            <a:r>
              <a:rPr lang="en-GB"/>
              <a:t> her</a:t>
            </a:r>
            <a:endParaRPr lang="en-NO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D8CB2F0-4732-4042-A2B6-8A025B5C7BE3}"/>
              </a:ext>
            </a:extLst>
          </p:cNvPr>
          <p:cNvSpPr/>
          <p:nvPr userDrawn="1"/>
        </p:nvSpPr>
        <p:spPr>
          <a:xfrm>
            <a:off x="1217958" y="4438403"/>
            <a:ext cx="3608755" cy="361035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A308449-72EE-2C48-AFCD-C629C50833B0}"/>
              </a:ext>
            </a:extLst>
          </p:cNvPr>
          <p:cNvSpPr/>
          <p:nvPr userDrawn="1"/>
        </p:nvSpPr>
        <p:spPr>
          <a:xfrm>
            <a:off x="6036780" y="4438403"/>
            <a:ext cx="3608755" cy="361035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C028622-F57E-5F4A-9D07-7256022CF969}"/>
              </a:ext>
            </a:extLst>
          </p:cNvPr>
          <p:cNvSpPr/>
          <p:nvPr userDrawn="1"/>
        </p:nvSpPr>
        <p:spPr>
          <a:xfrm>
            <a:off x="10855602" y="4438403"/>
            <a:ext cx="3608755" cy="361035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7E0EF21-0C8C-8345-83FF-7C3AAFE02BD8}"/>
              </a:ext>
            </a:extLst>
          </p:cNvPr>
          <p:cNvSpPr/>
          <p:nvPr userDrawn="1"/>
        </p:nvSpPr>
        <p:spPr>
          <a:xfrm>
            <a:off x="1217958" y="8741299"/>
            <a:ext cx="3608755" cy="361035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6447940-9EE9-954D-A452-17664AC516EA}"/>
              </a:ext>
            </a:extLst>
          </p:cNvPr>
          <p:cNvSpPr/>
          <p:nvPr userDrawn="1"/>
        </p:nvSpPr>
        <p:spPr>
          <a:xfrm>
            <a:off x="6036780" y="8741299"/>
            <a:ext cx="3608755" cy="361035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591F3B0-F57A-9A44-BECE-4A77B0C880D4}"/>
              </a:ext>
            </a:extLst>
          </p:cNvPr>
          <p:cNvSpPr/>
          <p:nvPr userDrawn="1"/>
        </p:nvSpPr>
        <p:spPr>
          <a:xfrm>
            <a:off x="10855602" y="8741299"/>
            <a:ext cx="3608755" cy="361035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19D76CD-65CF-BA4B-990E-0411E7BD3007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799CD1-9A1E-5148-A069-257F4EA98F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19121" y="5606714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E738891-7E09-594D-A0BC-9645B524A8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9121" y="6695286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11B516B-62AD-B245-AF53-C0F2B10CEF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23036" y="5606714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2FCFDE5-57D9-C648-A0D7-00006266E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23036" y="6695286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432775E-836D-6A4A-B169-98CD120C9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55978" y="5606714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62D8A76-5EEC-3A4D-B442-F76058202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55978" y="6695286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CED8D9F-6A71-D242-8E7E-044310946C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32864" y="9890686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9E79321-495C-A54B-948D-35B878513A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32864" y="10979258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E5B3239-3B82-4C47-9603-710D7A9957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36779" y="9890686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24B77D07-DC28-3A4A-9B85-011D94D55B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6779" y="10979258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CBDA160-D034-2E4C-9077-4D7CB888CB5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869721" y="9890686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E3B14192-E43A-E945-AB8F-4CC9F91EF36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869721" y="10979258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732231497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kk_3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D1CD5873-4996-1740-ABB8-2DAB4C13ED9F}"/>
              </a:ext>
            </a:extLst>
          </p:cNvPr>
          <p:cNvSpPr>
            <a:spLocks noGrp="1" noChangeAspect="1"/>
          </p:cNvSpPr>
          <p:nvPr>
            <p:ph type="pic" sz="quarter" idx="11" hasCustomPrompt="1"/>
          </p:nvPr>
        </p:nvSpPr>
        <p:spPr>
          <a:xfrm>
            <a:off x="1217957" y="1736372"/>
            <a:ext cx="2068729" cy="2068864"/>
          </a:xfrm>
          <a:blipFill dpi="0" rotWithShape="1">
            <a:blip r:embed="rId2"/>
            <a:srcRect/>
            <a:stretch>
              <a:fillRect/>
            </a:stretch>
          </a:blipFill>
        </p:spPr>
        <p:txBody>
          <a:bodyPr anchor="ctr" anchorCtr="1">
            <a:normAutofit/>
          </a:bodyPr>
          <a:lstStyle>
            <a:lvl1pPr marL="0" indent="0">
              <a:buNone/>
              <a:defRPr sz="2400"/>
            </a:lvl1pPr>
          </a:lstStyle>
          <a:p>
            <a:r>
              <a:rPr lang="en-NO"/>
              <a:t>Endre ikon</a:t>
            </a:r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0D82F01F-F063-EA45-B035-6CD0713F73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767491" y="2436743"/>
            <a:ext cx="11158158" cy="1061829"/>
          </a:xfrm>
        </p:spPr>
        <p:txBody>
          <a:bodyPr wrap="square" anchor="ctr">
            <a:spAutoFit/>
          </a:bodyPr>
          <a:lstStyle>
            <a:lvl1pPr marL="0" indent="0">
              <a:buNone/>
              <a:defRPr sz="7000" b="1" i="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Skriv</a:t>
            </a:r>
            <a:r>
              <a:rPr lang="en-GB"/>
              <a:t> inn </a:t>
            </a:r>
            <a:r>
              <a:rPr lang="en-GB" err="1"/>
              <a:t>tittel</a:t>
            </a:r>
            <a:r>
              <a:rPr lang="en-GB"/>
              <a:t> her</a:t>
            </a:r>
            <a:endParaRPr lang="en-NO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D8CB2F0-4732-4042-A2B6-8A025B5C7BE3}"/>
              </a:ext>
            </a:extLst>
          </p:cNvPr>
          <p:cNvSpPr/>
          <p:nvPr userDrawn="1"/>
        </p:nvSpPr>
        <p:spPr>
          <a:xfrm>
            <a:off x="1217958" y="4438403"/>
            <a:ext cx="3608755" cy="361035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9A308449-72EE-2C48-AFCD-C629C50833B0}"/>
              </a:ext>
            </a:extLst>
          </p:cNvPr>
          <p:cNvSpPr/>
          <p:nvPr userDrawn="1"/>
        </p:nvSpPr>
        <p:spPr>
          <a:xfrm>
            <a:off x="6036780" y="4438403"/>
            <a:ext cx="3608755" cy="361035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16" name="Oval 15">
            <a:extLst>
              <a:ext uri="{FF2B5EF4-FFF2-40B4-BE49-F238E27FC236}">
                <a16:creationId xmlns:a16="http://schemas.microsoft.com/office/drawing/2014/main" id="{BC028622-F57E-5F4A-9D07-7256022CF969}"/>
              </a:ext>
            </a:extLst>
          </p:cNvPr>
          <p:cNvSpPr/>
          <p:nvPr userDrawn="1"/>
        </p:nvSpPr>
        <p:spPr>
          <a:xfrm>
            <a:off x="10855602" y="4438403"/>
            <a:ext cx="3608755" cy="361035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97E0EF21-0C8C-8345-83FF-7C3AAFE02BD8}"/>
              </a:ext>
            </a:extLst>
          </p:cNvPr>
          <p:cNvSpPr/>
          <p:nvPr userDrawn="1"/>
        </p:nvSpPr>
        <p:spPr>
          <a:xfrm>
            <a:off x="1217958" y="8741299"/>
            <a:ext cx="3608755" cy="361035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A6447940-9EE9-954D-A452-17664AC516EA}"/>
              </a:ext>
            </a:extLst>
          </p:cNvPr>
          <p:cNvSpPr/>
          <p:nvPr userDrawn="1"/>
        </p:nvSpPr>
        <p:spPr>
          <a:xfrm>
            <a:off x="6036780" y="8741299"/>
            <a:ext cx="3608755" cy="361035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19" name="Oval 18">
            <a:extLst>
              <a:ext uri="{FF2B5EF4-FFF2-40B4-BE49-F238E27FC236}">
                <a16:creationId xmlns:a16="http://schemas.microsoft.com/office/drawing/2014/main" id="{F591F3B0-F57A-9A44-BECE-4A77B0C880D4}"/>
              </a:ext>
            </a:extLst>
          </p:cNvPr>
          <p:cNvSpPr/>
          <p:nvPr userDrawn="1"/>
        </p:nvSpPr>
        <p:spPr>
          <a:xfrm>
            <a:off x="10855602" y="8741299"/>
            <a:ext cx="3608755" cy="3610358"/>
          </a:xfrm>
          <a:prstGeom prst="ellipse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pic>
        <p:nvPicPr>
          <p:cNvPr id="20" name="Picture 19">
            <a:extLst>
              <a:ext uri="{FF2B5EF4-FFF2-40B4-BE49-F238E27FC236}">
                <a16:creationId xmlns:a16="http://schemas.microsoft.com/office/drawing/2014/main" id="{B19D76CD-65CF-BA4B-990E-0411E7BD3007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799CD1-9A1E-5148-A069-257F4EA98F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219121" y="5606714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E738891-7E09-594D-A0BC-9645B524A8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19121" y="6695286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22" name="Text Placeholder 2">
            <a:extLst>
              <a:ext uri="{FF2B5EF4-FFF2-40B4-BE49-F238E27FC236}">
                <a16:creationId xmlns:a16="http://schemas.microsoft.com/office/drawing/2014/main" id="{511B516B-62AD-B245-AF53-C0F2B10CEFE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23036" y="5606714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D2FCFDE5-57D9-C648-A0D7-00006266ED3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23036" y="6695286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24" name="Text Placeholder 2">
            <a:extLst>
              <a:ext uri="{FF2B5EF4-FFF2-40B4-BE49-F238E27FC236}">
                <a16:creationId xmlns:a16="http://schemas.microsoft.com/office/drawing/2014/main" id="{0432775E-836D-6A4A-B169-98CD120C958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855978" y="5606714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562D8A76-5EEC-3A4D-B442-F7605820229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855978" y="6695286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6CED8D9F-6A71-D242-8E7E-044310946CD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32864" y="9890686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27" name="Text Placeholder 2">
            <a:extLst>
              <a:ext uri="{FF2B5EF4-FFF2-40B4-BE49-F238E27FC236}">
                <a16:creationId xmlns:a16="http://schemas.microsoft.com/office/drawing/2014/main" id="{59E79321-495C-A54B-948D-35B878513A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32864" y="10979258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28" name="Text Placeholder 2">
            <a:extLst>
              <a:ext uri="{FF2B5EF4-FFF2-40B4-BE49-F238E27FC236}">
                <a16:creationId xmlns:a16="http://schemas.microsoft.com/office/drawing/2014/main" id="{3E5B3239-3B82-4C47-9603-710D7A99573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036779" y="9890686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29" name="Text Placeholder 2">
            <a:extLst>
              <a:ext uri="{FF2B5EF4-FFF2-40B4-BE49-F238E27FC236}">
                <a16:creationId xmlns:a16="http://schemas.microsoft.com/office/drawing/2014/main" id="{24B77D07-DC28-3A4A-9B85-011D94D55B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036779" y="10979258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30" name="Text Placeholder 2">
            <a:extLst>
              <a:ext uri="{FF2B5EF4-FFF2-40B4-BE49-F238E27FC236}">
                <a16:creationId xmlns:a16="http://schemas.microsoft.com/office/drawing/2014/main" id="{7CBDA160-D034-2E4C-9077-4D7CB888CB53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0869721" y="9890686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31" name="Text Placeholder 2">
            <a:extLst>
              <a:ext uri="{FF2B5EF4-FFF2-40B4-BE49-F238E27FC236}">
                <a16:creationId xmlns:a16="http://schemas.microsoft.com/office/drawing/2014/main" id="{E3B14192-E43A-E945-AB8F-4CC9F91EF363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0869721" y="10979258"/>
            <a:ext cx="3606565" cy="965200"/>
          </a:xfrm>
        </p:spPr>
        <p:txBody>
          <a:bodyPr>
            <a:noAutofit/>
          </a:bodyPr>
          <a:lstStyle>
            <a:lvl1pPr marL="0" indent="0" algn="ctr">
              <a:buNone/>
              <a:defRPr sz="24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32" name="Picture Placeholder 5">
            <a:extLst>
              <a:ext uri="{FF2B5EF4-FFF2-40B4-BE49-F238E27FC236}">
                <a16:creationId xmlns:a16="http://schemas.microsoft.com/office/drawing/2014/main" id="{04249899-2CB2-D048-914B-14CCA0A37DD2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5987759" y="0"/>
            <a:ext cx="8394654" cy="13716000"/>
          </a:xfrm>
          <a:blipFill dpi="0" rotWithShape="1"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NO"/>
              <a:t>Bytt bilde her</a:t>
            </a:r>
          </a:p>
        </p:txBody>
      </p:sp>
    </p:spTree>
    <p:extLst>
      <p:ext uri="{BB962C8B-B14F-4D97-AF65-F5344CB8AC3E}">
        <p14:creationId xmlns:p14="http://schemas.microsoft.com/office/powerpoint/2010/main" val="2506320835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istikk_4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 b="1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0E737FB1-1FC7-EB47-B83B-F6B2A49C9DF6}"/>
              </a:ext>
            </a:extLst>
          </p:cNvPr>
          <p:cNvSpPr/>
          <p:nvPr userDrawn="1"/>
        </p:nvSpPr>
        <p:spPr>
          <a:xfrm>
            <a:off x="0" y="9546956"/>
            <a:ext cx="24382413" cy="416904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7D8CB2F0-4732-4042-A2B6-8A025B5C7BE3}"/>
              </a:ext>
            </a:extLst>
          </p:cNvPr>
          <p:cNvSpPr/>
          <p:nvPr userDrawn="1"/>
        </p:nvSpPr>
        <p:spPr>
          <a:xfrm>
            <a:off x="855126" y="10174514"/>
            <a:ext cx="3068996" cy="307036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53799CD1-9A1E-5148-A069-257F4EA98F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56289" y="11077818"/>
            <a:ext cx="3067134" cy="820836"/>
          </a:xfrm>
        </p:spPr>
        <p:txBody>
          <a:bodyPr>
            <a:noAutofit/>
          </a:bodyPr>
          <a:lstStyle>
            <a:lvl1pPr marL="0" indent="0" algn="ctr">
              <a:buNone/>
              <a:defRPr sz="5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21" name="Text Placeholder 2">
            <a:extLst>
              <a:ext uri="{FF2B5EF4-FFF2-40B4-BE49-F238E27FC236}">
                <a16:creationId xmlns:a16="http://schemas.microsoft.com/office/drawing/2014/main" id="{8E738891-7E09-594D-A0BC-9645B524A80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22094" y="11963194"/>
            <a:ext cx="3067134" cy="820836"/>
          </a:xfrm>
        </p:spPr>
        <p:txBody>
          <a:bodyPr>
            <a:noAutofit/>
          </a:bodyPr>
          <a:lstStyle>
            <a:lvl1pPr marL="0" indent="0" algn="ctr">
              <a:buNone/>
              <a:defRPr sz="2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pic>
        <p:nvPicPr>
          <p:cNvPr id="32" name="Picture 31" descr="Logo&#10;&#10;Description automatically generated with medium confidence">
            <a:extLst>
              <a:ext uri="{FF2B5EF4-FFF2-40B4-BE49-F238E27FC236}">
                <a16:creationId xmlns:a16="http://schemas.microsoft.com/office/drawing/2014/main" id="{0451E84D-A65C-3648-BFCF-40530F55F55E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  <p:sp>
        <p:nvSpPr>
          <p:cNvPr id="36" name="Oval 35">
            <a:extLst>
              <a:ext uri="{FF2B5EF4-FFF2-40B4-BE49-F238E27FC236}">
                <a16:creationId xmlns:a16="http://schemas.microsoft.com/office/drawing/2014/main" id="{9F295B81-ED1A-804E-8C82-768DED6C4B14}"/>
              </a:ext>
            </a:extLst>
          </p:cNvPr>
          <p:cNvSpPr/>
          <p:nvPr userDrawn="1"/>
        </p:nvSpPr>
        <p:spPr>
          <a:xfrm>
            <a:off x="4814365" y="10174514"/>
            <a:ext cx="3068996" cy="307036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788D68D5-D793-C345-B5BE-8912A02BEBF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779654" y="11077818"/>
            <a:ext cx="3067134" cy="820836"/>
          </a:xfrm>
        </p:spPr>
        <p:txBody>
          <a:bodyPr>
            <a:noAutofit/>
          </a:bodyPr>
          <a:lstStyle>
            <a:lvl1pPr marL="0" indent="0" algn="ctr">
              <a:buNone/>
              <a:defRPr sz="5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38" name="Text Placeholder 2">
            <a:extLst>
              <a:ext uri="{FF2B5EF4-FFF2-40B4-BE49-F238E27FC236}">
                <a16:creationId xmlns:a16="http://schemas.microsoft.com/office/drawing/2014/main" id="{B0D09570-1ABE-504A-81FC-B0320B3560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79474" y="11963194"/>
            <a:ext cx="3067134" cy="820836"/>
          </a:xfrm>
        </p:spPr>
        <p:txBody>
          <a:bodyPr>
            <a:noAutofit/>
          </a:bodyPr>
          <a:lstStyle>
            <a:lvl1pPr marL="0" indent="0" algn="ctr">
              <a:buNone/>
              <a:defRPr sz="2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39" name="Oval 38">
            <a:extLst>
              <a:ext uri="{FF2B5EF4-FFF2-40B4-BE49-F238E27FC236}">
                <a16:creationId xmlns:a16="http://schemas.microsoft.com/office/drawing/2014/main" id="{430F9DCE-6641-8942-A490-FB3EA5D693F6}"/>
              </a:ext>
            </a:extLst>
          </p:cNvPr>
          <p:cNvSpPr/>
          <p:nvPr userDrawn="1"/>
        </p:nvSpPr>
        <p:spPr>
          <a:xfrm>
            <a:off x="8773603" y="10174514"/>
            <a:ext cx="3068996" cy="307036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40" name="Text Placeholder 2">
            <a:extLst>
              <a:ext uri="{FF2B5EF4-FFF2-40B4-BE49-F238E27FC236}">
                <a16:creationId xmlns:a16="http://schemas.microsoft.com/office/drawing/2014/main" id="{6F76BDD4-680A-8546-AB0D-7156FB17DDF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75462" y="11077818"/>
            <a:ext cx="3067134" cy="820836"/>
          </a:xfrm>
        </p:spPr>
        <p:txBody>
          <a:bodyPr>
            <a:noAutofit/>
          </a:bodyPr>
          <a:lstStyle>
            <a:lvl1pPr marL="0" indent="0" algn="ctr">
              <a:buNone/>
              <a:defRPr sz="5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41" name="Text Placeholder 2">
            <a:extLst>
              <a:ext uri="{FF2B5EF4-FFF2-40B4-BE49-F238E27FC236}">
                <a16:creationId xmlns:a16="http://schemas.microsoft.com/office/drawing/2014/main" id="{521A0282-2E74-A844-A707-54C828E28AD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809658" y="11963194"/>
            <a:ext cx="3067134" cy="820836"/>
          </a:xfrm>
        </p:spPr>
        <p:txBody>
          <a:bodyPr>
            <a:noAutofit/>
          </a:bodyPr>
          <a:lstStyle>
            <a:lvl1pPr marL="0" indent="0" algn="ctr">
              <a:buNone/>
              <a:defRPr sz="2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42" name="Oval 41">
            <a:extLst>
              <a:ext uri="{FF2B5EF4-FFF2-40B4-BE49-F238E27FC236}">
                <a16:creationId xmlns:a16="http://schemas.microsoft.com/office/drawing/2014/main" id="{8761416B-91C1-934B-BEC6-BCCF731F4B86}"/>
              </a:ext>
            </a:extLst>
          </p:cNvPr>
          <p:cNvSpPr/>
          <p:nvPr userDrawn="1"/>
        </p:nvSpPr>
        <p:spPr>
          <a:xfrm>
            <a:off x="12732841" y="10174514"/>
            <a:ext cx="3068996" cy="307036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E1EB3492-876B-B144-82D1-BBB6CC68704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2742716" y="11091932"/>
            <a:ext cx="3067134" cy="820836"/>
          </a:xfrm>
        </p:spPr>
        <p:txBody>
          <a:bodyPr>
            <a:noAutofit/>
          </a:bodyPr>
          <a:lstStyle>
            <a:lvl1pPr marL="0" indent="0" algn="ctr">
              <a:buNone/>
              <a:defRPr sz="5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504CC24A-396F-5542-B998-4EBC4D7AAAA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2742716" y="11963194"/>
            <a:ext cx="3067134" cy="820836"/>
          </a:xfrm>
        </p:spPr>
        <p:txBody>
          <a:bodyPr>
            <a:noAutofit/>
          </a:bodyPr>
          <a:lstStyle>
            <a:lvl1pPr marL="0" indent="0" algn="ctr">
              <a:buNone/>
              <a:defRPr sz="2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45" name="Oval 44">
            <a:extLst>
              <a:ext uri="{FF2B5EF4-FFF2-40B4-BE49-F238E27FC236}">
                <a16:creationId xmlns:a16="http://schemas.microsoft.com/office/drawing/2014/main" id="{0A8390EB-E03A-E441-8D5A-5A42519AD733}"/>
              </a:ext>
            </a:extLst>
          </p:cNvPr>
          <p:cNvSpPr/>
          <p:nvPr userDrawn="1"/>
        </p:nvSpPr>
        <p:spPr>
          <a:xfrm>
            <a:off x="16692080" y="10174514"/>
            <a:ext cx="3068996" cy="307036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41DC5860-68B8-DD41-BB64-16D4ABFE2F6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6683371" y="11077818"/>
            <a:ext cx="3067134" cy="820836"/>
          </a:xfrm>
        </p:spPr>
        <p:txBody>
          <a:bodyPr>
            <a:noAutofit/>
          </a:bodyPr>
          <a:lstStyle>
            <a:lvl1pPr marL="0" indent="0" algn="ctr">
              <a:buNone/>
              <a:defRPr sz="5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A0ECE541-BF08-0D41-A8D3-74F8F52D9366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6683369" y="11963194"/>
            <a:ext cx="3067134" cy="820836"/>
          </a:xfrm>
        </p:spPr>
        <p:txBody>
          <a:bodyPr>
            <a:noAutofit/>
          </a:bodyPr>
          <a:lstStyle>
            <a:lvl1pPr marL="0" indent="0" algn="ctr">
              <a:buNone/>
              <a:defRPr sz="2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45137C7A-E070-BC41-99E7-9C11631B796A}"/>
              </a:ext>
            </a:extLst>
          </p:cNvPr>
          <p:cNvSpPr/>
          <p:nvPr userDrawn="1"/>
        </p:nvSpPr>
        <p:spPr>
          <a:xfrm>
            <a:off x="20651322" y="10174514"/>
            <a:ext cx="3068996" cy="3070360"/>
          </a:xfrm>
          <a:prstGeom prst="ellipse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49" name="Text Placeholder 2">
            <a:extLst>
              <a:ext uri="{FF2B5EF4-FFF2-40B4-BE49-F238E27FC236}">
                <a16:creationId xmlns:a16="http://schemas.microsoft.com/office/drawing/2014/main" id="{7E204964-0F4D-8246-98BC-8BC5C4E5C49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20652485" y="11077818"/>
            <a:ext cx="3067134" cy="820836"/>
          </a:xfrm>
        </p:spPr>
        <p:txBody>
          <a:bodyPr>
            <a:noAutofit/>
          </a:bodyPr>
          <a:lstStyle>
            <a:lvl1pPr marL="0" indent="0" algn="ctr">
              <a:buNone/>
              <a:defRPr sz="5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/>
              <a:t>Tall her</a:t>
            </a:r>
            <a:endParaRPr lang="en-NO"/>
          </a:p>
        </p:txBody>
      </p:sp>
      <p:sp>
        <p:nvSpPr>
          <p:cNvPr id="50" name="Text Placeholder 2">
            <a:extLst>
              <a:ext uri="{FF2B5EF4-FFF2-40B4-BE49-F238E27FC236}">
                <a16:creationId xmlns:a16="http://schemas.microsoft.com/office/drawing/2014/main" id="{A75B9D76-9680-8D4B-8883-A6E41487E515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0652485" y="11963194"/>
            <a:ext cx="3067134" cy="820836"/>
          </a:xfrm>
        </p:spPr>
        <p:txBody>
          <a:bodyPr>
            <a:noAutofit/>
          </a:bodyPr>
          <a:lstStyle>
            <a:lvl1pPr marL="0" indent="0" algn="ctr">
              <a:buNone/>
              <a:defRPr sz="22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sz="6000" b="1" i="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Forklaring</a:t>
            </a:r>
            <a:r>
              <a:rPr lang="en-GB"/>
              <a:t> her</a:t>
            </a:r>
            <a:endParaRPr lang="en-NO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3AE1BD57-C72B-EC4F-92C3-7C491E0E36D7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21443293" y="679109"/>
            <a:ext cx="2276326" cy="2276474"/>
          </a:xfrm>
          <a:prstGeom prst="ellipse">
            <a:avLst/>
          </a:prstGeom>
          <a:noFill/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accent3"/>
                </a:solidFill>
              </a:defRPr>
            </a:lvl1pPr>
          </a:lstStyle>
          <a:p>
            <a:r>
              <a:rPr lang="en-NO"/>
              <a:t/>
            </a:r>
            <a:br>
              <a:rPr lang="en-NO"/>
            </a:br>
            <a:r>
              <a:rPr lang="en-NO"/>
              <a:t>Ikon</a:t>
            </a:r>
          </a:p>
        </p:txBody>
      </p:sp>
      <p:sp>
        <p:nvSpPr>
          <p:cNvPr id="24" name="Text Placeholder 81">
            <a:extLst>
              <a:ext uri="{FF2B5EF4-FFF2-40B4-BE49-F238E27FC236}">
                <a16:creationId xmlns:a16="http://schemas.microsoft.com/office/drawing/2014/main" id="{4E8832EC-AF7C-5743-A0B2-7114EC988852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822094" y="8504861"/>
            <a:ext cx="9060860" cy="862282"/>
          </a:xfrm>
        </p:spPr>
        <p:txBody>
          <a:bodyPr>
            <a:noAutofit/>
          </a:bodyPr>
          <a:lstStyle>
            <a:lvl1pPr marL="0" indent="0">
              <a:buNone/>
              <a:defRPr sz="2400">
                <a:solidFill>
                  <a:schemeClr val="bg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en-GB" err="1"/>
              <a:t>Endre</a:t>
            </a:r>
            <a:r>
              <a:rPr lang="en-GB"/>
              <a:t> </a:t>
            </a:r>
            <a:r>
              <a:rPr lang="en-GB" err="1"/>
              <a:t>bildet</a:t>
            </a:r>
            <a:r>
              <a:rPr lang="en-GB"/>
              <a:t> </a:t>
            </a:r>
            <a:r>
              <a:rPr lang="en-GB" err="1"/>
              <a:t>ved</a:t>
            </a:r>
            <a:r>
              <a:rPr lang="en-GB"/>
              <a:t> </a:t>
            </a:r>
            <a:r>
              <a:rPr lang="en-GB" err="1"/>
              <a:t>å</a:t>
            </a:r>
            <a:r>
              <a:rPr lang="en-GB"/>
              <a:t> </a:t>
            </a:r>
            <a:r>
              <a:rPr lang="en-GB" err="1"/>
              <a:t>endre</a:t>
            </a:r>
            <a:r>
              <a:rPr lang="en-GB"/>
              <a:t> </a:t>
            </a:r>
            <a:r>
              <a:rPr lang="en-GB" err="1"/>
              <a:t>bakgrunnen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352608941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bokser_1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CBE4D9D2-F0C7-474F-9CCB-2CF21679A8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4657" y="1492680"/>
            <a:ext cx="9182680" cy="11174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5000">
                <a:solidFill>
                  <a:schemeClr val="accent3"/>
                </a:solidFill>
              </a:defRPr>
            </a:lvl1pPr>
          </a:lstStyle>
          <a:p>
            <a:r>
              <a:rPr lang="en-GB" err="1"/>
              <a:t>Skriv</a:t>
            </a:r>
            <a:r>
              <a:rPr lang="en-GB"/>
              <a:t> </a:t>
            </a:r>
            <a:r>
              <a:rPr lang="en-GB" err="1"/>
              <a:t>tittel</a:t>
            </a:r>
            <a:endParaRPr lang="en-NO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5A706E4-77D7-B442-9815-E37C021711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  <p:sp>
        <p:nvSpPr>
          <p:cNvPr id="90" name="Picture Placeholder 60">
            <a:extLst>
              <a:ext uri="{FF2B5EF4-FFF2-40B4-BE49-F238E27FC236}">
                <a16:creationId xmlns:a16="http://schemas.microsoft.com/office/drawing/2014/main" id="{AC26795C-BA2A-D344-BB59-050EC8CB82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39214" y="6857999"/>
            <a:ext cx="12230422" cy="6912014"/>
          </a:xfrm>
          <a:prstGeom prst="flowChartProcess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1"/>
          <a:lstStyle>
            <a:lvl1pPr marL="0" marR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NO"/>
              <a:t>Bytt bilde her</a:t>
            </a:r>
          </a:p>
        </p:txBody>
      </p:sp>
      <p:sp>
        <p:nvSpPr>
          <p:cNvPr id="61" name="Picture Placeholder 60">
            <a:extLst>
              <a:ext uri="{FF2B5EF4-FFF2-40B4-BE49-F238E27FC236}">
                <a16:creationId xmlns:a16="http://schemas.microsoft.com/office/drawing/2014/main" id="{BB900CA8-F35B-A042-A8A3-1D6FB26F0C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2191207" y="0"/>
            <a:ext cx="12230422" cy="6858000"/>
          </a:xfrm>
          <a:prstGeom prst="flowChartProcess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NO"/>
              <a:t>Bytt bilde he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08EEB73-FE19-4149-AF8F-8D84558FB1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15078" y="7992334"/>
            <a:ext cx="9181502" cy="1045320"/>
          </a:xfrm>
        </p:spPr>
        <p:txBody>
          <a:bodyPr anchor="ctr" anchorCtr="0">
            <a:noAutofit/>
          </a:bodyPr>
          <a:lstStyle>
            <a:lvl1pPr marL="0" indent="0">
              <a:buNone/>
              <a:defRPr sz="5000" b="1">
                <a:solidFill>
                  <a:schemeClr val="accent3"/>
                </a:solidFill>
              </a:defRPr>
            </a:lvl1pPr>
            <a:lvl2pPr marL="914354" indent="0">
              <a:buNone/>
              <a:defRPr sz="5000" b="1">
                <a:solidFill>
                  <a:schemeClr val="accent3"/>
                </a:solidFill>
              </a:defRPr>
            </a:lvl2pPr>
            <a:lvl3pPr marL="1828709" indent="0">
              <a:buNone/>
              <a:defRPr sz="5000" b="1">
                <a:solidFill>
                  <a:schemeClr val="accent3"/>
                </a:solidFill>
              </a:defRPr>
            </a:lvl3pPr>
            <a:lvl4pPr marL="2743063" indent="0">
              <a:buNone/>
              <a:defRPr sz="5000" b="1">
                <a:solidFill>
                  <a:schemeClr val="accent3"/>
                </a:solidFill>
              </a:defRPr>
            </a:lvl4pPr>
            <a:lvl5pPr marL="3657417" indent="0">
              <a:buNone/>
              <a:defRPr sz="5000"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 err="1"/>
              <a:t>Skriv</a:t>
            </a:r>
            <a:r>
              <a:rPr lang="en-GB"/>
              <a:t> </a:t>
            </a:r>
            <a:r>
              <a:rPr lang="en-GB" err="1"/>
              <a:t>tittel</a:t>
            </a:r>
            <a:endParaRPr lang="en-NO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CA263B07-AFAB-CB46-94A9-92C10809C1A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5803" y="2943227"/>
            <a:ext cx="9181502" cy="3219450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600">
                <a:solidFill>
                  <a:schemeClr val="bg1"/>
                </a:solidFill>
              </a:defRPr>
            </a:lvl3pPr>
            <a:lvl4pPr>
              <a:defRPr sz="3600">
                <a:solidFill>
                  <a:schemeClr val="bg1"/>
                </a:solidFill>
              </a:defRPr>
            </a:lvl4pPr>
            <a:lvl5pPr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ekst</a:t>
            </a:r>
            <a:endParaRPr lang="en-GB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D60E983A-B0E7-C94F-BD24-1F8C64D417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684182" y="9376297"/>
            <a:ext cx="9181502" cy="3219450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600">
                <a:solidFill>
                  <a:schemeClr val="bg1"/>
                </a:solidFill>
              </a:defRPr>
            </a:lvl3pPr>
            <a:lvl4pPr>
              <a:defRPr sz="3600">
                <a:solidFill>
                  <a:schemeClr val="bg1"/>
                </a:solidFill>
              </a:defRPr>
            </a:lvl4pPr>
            <a:lvl5pPr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eks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3224500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bokser_2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CBE4D9D2-F0C7-474F-9CCB-2CF21679A86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4657" y="1492680"/>
            <a:ext cx="9182680" cy="1117404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>
              <a:defRPr sz="5000">
                <a:solidFill>
                  <a:schemeClr val="accent3"/>
                </a:solidFill>
              </a:defRPr>
            </a:lvl1pPr>
          </a:lstStyle>
          <a:p>
            <a:r>
              <a:rPr lang="en-GB" err="1"/>
              <a:t>Skriv</a:t>
            </a:r>
            <a:r>
              <a:rPr lang="en-GB"/>
              <a:t> </a:t>
            </a:r>
            <a:r>
              <a:rPr lang="en-GB" err="1"/>
              <a:t>tittel</a:t>
            </a:r>
            <a:endParaRPr lang="en-NO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5A706E4-77D7-B442-9815-E37C021711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13586" y="-1062000"/>
            <a:ext cx="3599766" cy="3600000"/>
          </a:xfrm>
          <a:prstGeom prst="rect">
            <a:avLst/>
          </a:prstGeom>
        </p:spPr>
      </p:pic>
      <p:sp>
        <p:nvSpPr>
          <p:cNvPr id="90" name="Picture Placeholder 60">
            <a:extLst>
              <a:ext uri="{FF2B5EF4-FFF2-40B4-BE49-F238E27FC236}">
                <a16:creationId xmlns:a16="http://schemas.microsoft.com/office/drawing/2014/main" id="{AC26795C-BA2A-D344-BB59-050EC8CB8255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-39214" y="6857999"/>
            <a:ext cx="12230422" cy="6912014"/>
          </a:xfrm>
          <a:prstGeom prst="flowChartProcess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1"/>
          <a:lstStyle>
            <a:lvl1pPr marL="0" marR="0" indent="0" algn="l" defTabSz="1828709" rtl="0" eaLnBrk="1" fontAlgn="auto" latinLnBrk="0" hangingPunct="1">
              <a:lnSpc>
                <a:spcPct val="90000"/>
              </a:lnSpc>
              <a:spcBef>
                <a:spcPts val="2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r>
              <a:rPr lang="en-NO"/>
              <a:t>Bytt bilde her</a:t>
            </a:r>
          </a:p>
        </p:txBody>
      </p:sp>
      <p:sp>
        <p:nvSpPr>
          <p:cNvPr id="61" name="Picture Placeholder 60">
            <a:extLst>
              <a:ext uri="{FF2B5EF4-FFF2-40B4-BE49-F238E27FC236}">
                <a16:creationId xmlns:a16="http://schemas.microsoft.com/office/drawing/2014/main" id="{BB900CA8-F35B-A042-A8A3-1D6FB26F0C47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12191207" y="0"/>
            <a:ext cx="12230422" cy="6858000"/>
          </a:xfrm>
          <a:prstGeom prst="flowChartProcess">
            <a:avLst/>
          </a:prstGeom>
          <a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anchor="ctr" anchorCtr="1"/>
          <a:lstStyle>
            <a:lvl1pPr marL="0" indent="0">
              <a:buNone/>
              <a:defRPr/>
            </a:lvl1pPr>
          </a:lstStyle>
          <a:p>
            <a:r>
              <a:rPr lang="en-NO"/>
              <a:t>Bytt bilde he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E08EEB73-FE19-4149-AF8F-8D84558FB10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715078" y="7992334"/>
            <a:ext cx="9181502" cy="1045320"/>
          </a:xfrm>
        </p:spPr>
        <p:txBody>
          <a:bodyPr anchor="ctr" anchorCtr="0">
            <a:noAutofit/>
          </a:bodyPr>
          <a:lstStyle>
            <a:lvl1pPr marL="0" indent="0">
              <a:buNone/>
              <a:defRPr sz="5000" b="1">
                <a:solidFill>
                  <a:schemeClr val="accent3"/>
                </a:solidFill>
              </a:defRPr>
            </a:lvl1pPr>
            <a:lvl2pPr marL="914354" indent="0">
              <a:buNone/>
              <a:defRPr sz="5000" b="1">
                <a:solidFill>
                  <a:schemeClr val="accent3"/>
                </a:solidFill>
              </a:defRPr>
            </a:lvl2pPr>
            <a:lvl3pPr marL="1828709" indent="0">
              <a:buNone/>
              <a:defRPr sz="5000" b="1">
                <a:solidFill>
                  <a:schemeClr val="accent3"/>
                </a:solidFill>
              </a:defRPr>
            </a:lvl3pPr>
            <a:lvl4pPr marL="2743063" indent="0">
              <a:buNone/>
              <a:defRPr sz="5000" b="1">
                <a:solidFill>
                  <a:schemeClr val="accent3"/>
                </a:solidFill>
              </a:defRPr>
            </a:lvl4pPr>
            <a:lvl5pPr marL="3657417" indent="0">
              <a:buNone/>
              <a:defRPr sz="5000" b="1">
                <a:solidFill>
                  <a:schemeClr val="accent3"/>
                </a:solidFill>
              </a:defRPr>
            </a:lvl5pPr>
          </a:lstStyle>
          <a:p>
            <a:pPr lvl="0"/>
            <a:r>
              <a:rPr lang="en-GB" err="1"/>
              <a:t>Skriv</a:t>
            </a:r>
            <a:r>
              <a:rPr lang="en-GB"/>
              <a:t> </a:t>
            </a:r>
            <a:r>
              <a:rPr lang="en-GB" err="1"/>
              <a:t>tittel</a:t>
            </a:r>
            <a:endParaRPr lang="en-NO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CA263B07-AFAB-CB46-94A9-92C10809C1A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485803" y="2943227"/>
            <a:ext cx="9181502" cy="3219450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600">
                <a:solidFill>
                  <a:schemeClr val="bg1"/>
                </a:solidFill>
              </a:defRPr>
            </a:lvl3pPr>
            <a:lvl4pPr>
              <a:defRPr sz="3600">
                <a:solidFill>
                  <a:schemeClr val="bg1"/>
                </a:solidFill>
              </a:defRPr>
            </a:lvl4pPr>
            <a:lvl5pPr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ekst</a:t>
            </a:r>
            <a:endParaRPr lang="en-GB"/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D60E983A-B0E7-C94F-BD24-1F8C64D4171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684182" y="9376297"/>
            <a:ext cx="9181502" cy="3219450"/>
          </a:xfrm>
        </p:spPr>
        <p:txBody>
          <a:bodyPr>
            <a:normAutofit/>
          </a:bodyPr>
          <a:lstStyle>
            <a:lvl1pPr>
              <a:defRPr sz="4000">
                <a:solidFill>
                  <a:schemeClr val="bg1"/>
                </a:solidFill>
              </a:defRPr>
            </a:lvl1pPr>
            <a:lvl2pPr>
              <a:defRPr sz="3600">
                <a:solidFill>
                  <a:schemeClr val="bg1"/>
                </a:solidFill>
              </a:defRPr>
            </a:lvl2pPr>
            <a:lvl3pPr>
              <a:defRPr sz="3600">
                <a:solidFill>
                  <a:schemeClr val="bg1"/>
                </a:solidFill>
              </a:defRPr>
            </a:lvl3pPr>
            <a:lvl4pPr>
              <a:defRPr sz="3600">
                <a:solidFill>
                  <a:schemeClr val="bg1"/>
                </a:solidFill>
              </a:defRPr>
            </a:lvl4pPr>
            <a:lvl5pPr>
              <a:defRPr sz="3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ekst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65907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tel og innhold +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82C2B331-E123-47D9-82A3-F7FF3C0219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064882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5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82C2B331-E123-47D9-82A3-F7FF3C0219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e 7" descr="Et bilde som inneholder tekst, visittkort&#10;&#10;Automatisk generert beskrivelse">
            <a:extLst>
              <a:ext uri="{FF2B5EF4-FFF2-40B4-BE49-F238E27FC236}">
                <a16:creationId xmlns:a16="http://schemas.microsoft.com/office/drawing/2014/main" id="{870690A2-AE08-4C52-93EF-D83CFEF7F34A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06" y="0"/>
            <a:ext cx="6858000" cy="13716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4" y="3981599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6A70C43-E7CB-4D91-B739-55E43F263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0163E0A-6D72-4F46-A59E-F6B3A730B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7DCB8B-75D1-4E5A-9008-E6CD4538A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Tonje Lorem - Avdelingsleder</a:t>
            </a:r>
            <a:endParaRPr lang="nb-NO" dirty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98A5015-B64B-43EC-A212-5090ED7FE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408081013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bokser iko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icture Placeholder 19">
            <a:extLst>
              <a:ext uri="{FF2B5EF4-FFF2-40B4-BE49-F238E27FC236}">
                <a16:creationId xmlns:a16="http://schemas.microsoft.com/office/drawing/2014/main" id="{C371B0AE-337E-EF4E-8916-AD4178F8EA89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2540242" y="1817888"/>
            <a:ext cx="12914577" cy="5280876"/>
          </a:xfrm>
          <a:custGeom>
            <a:avLst/>
            <a:gdLst>
              <a:gd name="connsiteX0" fmla="*/ 0 w 7338005"/>
              <a:gd name="connsiteY0" fmla="*/ 0 h 3000375"/>
              <a:gd name="connsiteX1" fmla="*/ 7338005 w 7338005"/>
              <a:gd name="connsiteY1" fmla="*/ 0 h 3000375"/>
              <a:gd name="connsiteX2" fmla="*/ 7338005 w 7338005"/>
              <a:gd name="connsiteY2" fmla="*/ 290281 h 3000375"/>
              <a:gd name="connsiteX3" fmla="*/ 4309094 w 7338005"/>
              <a:gd name="connsiteY3" fmla="*/ 290281 h 3000375"/>
              <a:gd name="connsiteX4" fmla="*/ 4309094 w 7338005"/>
              <a:gd name="connsiteY4" fmla="*/ 2710096 h 3000375"/>
              <a:gd name="connsiteX5" fmla="*/ 7338005 w 7338005"/>
              <a:gd name="connsiteY5" fmla="*/ 2710096 h 3000375"/>
              <a:gd name="connsiteX6" fmla="*/ 7338005 w 7338005"/>
              <a:gd name="connsiteY6" fmla="*/ 3000375 h 3000375"/>
              <a:gd name="connsiteX7" fmla="*/ 0 w 7338005"/>
              <a:gd name="connsiteY7" fmla="*/ 3000375 h 3000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38005" h="3000375">
                <a:moveTo>
                  <a:pt x="0" y="0"/>
                </a:moveTo>
                <a:lnTo>
                  <a:pt x="7338005" y="0"/>
                </a:lnTo>
                <a:lnTo>
                  <a:pt x="7338005" y="290281"/>
                </a:lnTo>
                <a:lnTo>
                  <a:pt x="4309094" y="290281"/>
                </a:lnTo>
                <a:lnTo>
                  <a:pt x="4309094" y="2710096"/>
                </a:lnTo>
                <a:lnTo>
                  <a:pt x="7338005" y="2710096"/>
                </a:lnTo>
                <a:lnTo>
                  <a:pt x="7338005" y="3000375"/>
                </a:lnTo>
                <a:lnTo>
                  <a:pt x="0" y="3000375"/>
                </a:lnTo>
                <a:close/>
              </a:path>
            </a:pathLst>
          </a:cu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 anchorCtr="1">
            <a:noAutofit/>
          </a:bodyPr>
          <a:lstStyle>
            <a:lvl1pPr marL="0" indent="0" algn="ctr">
              <a:buNone/>
              <a:defRPr sz="3000"/>
            </a:lvl1pPr>
          </a:lstStyle>
          <a:p>
            <a:r>
              <a:rPr lang="en-NO"/>
              <a:t>Bytt </a:t>
            </a:r>
            <a:br>
              <a:rPr lang="en-NO"/>
            </a:br>
            <a:r>
              <a:rPr lang="en-NO"/>
              <a:t>bilde her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964A1D63-55AD-3849-9B06-17D048629001}"/>
              </a:ext>
            </a:extLst>
          </p:cNvPr>
          <p:cNvSpPr/>
          <p:nvPr userDrawn="1"/>
        </p:nvSpPr>
        <p:spPr>
          <a:xfrm>
            <a:off x="10120874" y="2322925"/>
            <a:ext cx="11770080" cy="42642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A98674DF-3F4A-3541-8147-7D03E8052D60}"/>
              </a:ext>
            </a:extLst>
          </p:cNvPr>
          <p:cNvSpPr>
            <a:spLocks noGrp="1"/>
          </p:cNvSpPr>
          <p:nvPr>
            <p:ph type="pic" sz="quarter" idx="11" hasCustomPrompt="1"/>
          </p:nvPr>
        </p:nvSpPr>
        <p:spPr>
          <a:xfrm>
            <a:off x="8998040" y="7886646"/>
            <a:ext cx="12913557" cy="5280876"/>
          </a:xfrm>
          <a:custGeom>
            <a:avLst/>
            <a:gdLst>
              <a:gd name="connsiteX0" fmla="*/ 0 w 7337425"/>
              <a:gd name="connsiteY0" fmla="*/ 0 h 3000375"/>
              <a:gd name="connsiteX1" fmla="*/ 7337425 w 7337425"/>
              <a:gd name="connsiteY1" fmla="*/ 0 h 3000375"/>
              <a:gd name="connsiteX2" fmla="*/ 7337425 w 7337425"/>
              <a:gd name="connsiteY2" fmla="*/ 3000375 h 3000375"/>
              <a:gd name="connsiteX3" fmla="*/ 0 w 7337425"/>
              <a:gd name="connsiteY3" fmla="*/ 3000375 h 3000375"/>
              <a:gd name="connsiteX4" fmla="*/ 0 w 7337425"/>
              <a:gd name="connsiteY4" fmla="*/ 2711566 h 3000375"/>
              <a:gd name="connsiteX5" fmla="*/ 3008959 w 7337425"/>
              <a:gd name="connsiteY5" fmla="*/ 2711566 h 3000375"/>
              <a:gd name="connsiteX6" fmla="*/ 3008959 w 7337425"/>
              <a:gd name="connsiteY6" fmla="*/ 288807 h 3000375"/>
              <a:gd name="connsiteX7" fmla="*/ 0 w 7337425"/>
              <a:gd name="connsiteY7" fmla="*/ 288807 h 30003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37425" h="3000375">
                <a:moveTo>
                  <a:pt x="0" y="0"/>
                </a:moveTo>
                <a:lnTo>
                  <a:pt x="7337425" y="0"/>
                </a:lnTo>
                <a:lnTo>
                  <a:pt x="7337425" y="3000375"/>
                </a:lnTo>
                <a:lnTo>
                  <a:pt x="0" y="3000375"/>
                </a:lnTo>
                <a:lnTo>
                  <a:pt x="0" y="2711566"/>
                </a:lnTo>
                <a:lnTo>
                  <a:pt x="3008959" y="2711566"/>
                </a:lnTo>
                <a:lnTo>
                  <a:pt x="3008959" y="288807"/>
                </a:lnTo>
                <a:lnTo>
                  <a:pt x="0" y="288807"/>
                </a:lnTo>
                <a:close/>
              </a:path>
            </a:pathLst>
          </a:cu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wrap="square" anchor="ctr" anchorCtr="1">
            <a:noAutofit/>
          </a:bodyPr>
          <a:lstStyle>
            <a:lvl1pPr marL="0" indent="0" algn="ctr">
              <a:buNone/>
              <a:defRPr sz="3000"/>
            </a:lvl1pPr>
          </a:lstStyle>
          <a:p>
            <a:r>
              <a:rPr lang="en-NO"/>
              <a:t>Bytt </a:t>
            </a:r>
            <a:br>
              <a:rPr lang="en-NO"/>
            </a:br>
            <a:r>
              <a:rPr lang="en-NO"/>
              <a:t>bilde her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94057FD3-9416-C44D-ACA7-F9F3D953CBA4}"/>
              </a:ext>
            </a:extLst>
          </p:cNvPr>
          <p:cNvSpPr/>
          <p:nvPr userDrawn="1"/>
        </p:nvSpPr>
        <p:spPr>
          <a:xfrm>
            <a:off x="2517665" y="8394969"/>
            <a:ext cx="11770080" cy="426423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NO" sz="3600"/>
          </a:p>
        </p:txBody>
      </p:sp>
      <p:pic>
        <p:nvPicPr>
          <p:cNvPr id="27" name="Picture 26" descr="Logo&#10;&#10;Description automatically generated with medium confidence">
            <a:extLst>
              <a:ext uri="{FF2B5EF4-FFF2-40B4-BE49-F238E27FC236}">
                <a16:creationId xmlns:a16="http://schemas.microsoft.com/office/drawing/2014/main" id="{7CC2BE21-DB0B-7E4F-8AFB-9DE0B7AF63FD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976226"/>
            <a:ext cx="3599766" cy="3600000"/>
          </a:xfrm>
          <a:prstGeom prst="rect">
            <a:avLst/>
          </a:prstGeom>
        </p:spPr>
      </p:pic>
      <p:sp>
        <p:nvSpPr>
          <p:cNvPr id="28" name="Title Placeholder 1">
            <a:extLst>
              <a:ext uri="{FF2B5EF4-FFF2-40B4-BE49-F238E27FC236}">
                <a16:creationId xmlns:a16="http://schemas.microsoft.com/office/drawing/2014/main" id="{0F1947ED-9F1A-6E45-A875-F6D5384D166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3047266" y="2859310"/>
            <a:ext cx="8017076" cy="646331"/>
          </a:xfrm>
          <a:prstGeom prst="rect">
            <a:avLst/>
          </a:prstGeom>
        </p:spPr>
        <p:txBody>
          <a:bodyPr vert="horz" lIns="91440" tIns="45720" rIns="91440" bIns="45720" rtlCol="0" anchor="ctr">
            <a:spAutoFit/>
          </a:bodyPr>
          <a:lstStyle>
            <a:lvl1pPr>
              <a:defRPr sz="4000">
                <a:solidFill>
                  <a:schemeClr val="accent3"/>
                </a:solidFill>
              </a:defRPr>
            </a:lvl1pPr>
          </a:lstStyle>
          <a:p>
            <a:r>
              <a:rPr lang="en-GB" err="1"/>
              <a:t>Skriv</a:t>
            </a:r>
            <a:r>
              <a:rPr lang="en-GB"/>
              <a:t> </a:t>
            </a:r>
            <a:r>
              <a:rPr lang="en-GB" err="1"/>
              <a:t>tittel</a:t>
            </a:r>
            <a:endParaRPr lang="en-NO"/>
          </a:p>
        </p:txBody>
      </p:sp>
      <p:pic>
        <p:nvPicPr>
          <p:cNvPr id="35" name="Picture 34" descr="Shape, circle&#10;&#10;Description automatically generated">
            <a:extLst>
              <a:ext uri="{FF2B5EF4-FFF2-40B4-BE49-F238E27FC236}">
                <a16:creationId xmlns:a16="http://schemas.microsoft.com/office/drawing/2014/main" id="{C54D7FD9-C568-0546-8878-D3415333E14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12155767" y="8395735"/>
            <a:ext cx="2131977" cy="4264230"/>
          </a:xfrm>
          <a:prstGeom prst="rect">
            <a:avLst/>
          </a:prstGeom>
        </p:spPr>
      </p:pic>
      <p:pic>
        <p:nvPicPr>
          <p:cNvPr id="37" name="Picture 36" descr="Shape&#10;&#10;Description automatically generated">
            <a:extLst>
              <a:ext uri="{FF2B5EF4-FFF2-40B4-BE49-F238E27FC236}">
                <a16:creationId xmlns:a16="http://schemas.microsoft.com/office/drawing/2014/main" id="{7E3A0858-4573-9940-8BFF-40E1A70A6730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120873" y="2322925"/>
            <a:ext cx="2131977" cy="4264230"/>
          </a:xfrm>
          <a:prstGeom prst="rect">
            <a:avLst/>
          </a:prstGeom>
        </p:spPr>
      </p:pic>
      <p:sp>
        <p:nvSpPr>
          <p:cNvPr id="39" name="Text Placeholder 38">
            <a:extLst>
              <a:ext uri="{FF2B5EF4-FFF2-40B4-BE49-F238E27FC236}">
                <a16:creationId xmlns:a16="http://schemas.microsoft.com/office/drawing/2014/main" id="{43121D1B-2768-A44A-9F94-CF4437846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3048401" y="3740151"/>
            <a:ext cx="8016354" cy="2457450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ekst</a:t>
            </a:r>
            <a:endParaRPr lang="en-GB"/>
          </a:p>
        </p:txBody>
      </p:sp>
      <p:sp>
        <p:nvSpPr>
          <p:cNvPr id="41" name="Text Placeholder 38">
            <a:extLst>
              <a:ext uri="{FF2B5EF4-FFF2-40B4-BE49-F238E27FC236}">
                <a16:creationId xmlns:a16="http://schemas.microsoft.com/office/drawing/2014/main" id="{007F2A69-08FB-EB41-860D-A47CC9134C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517745" y="9936561"/>
            <a:ext cx="8016354" cy="2457450"/>
          </a:xfrm>
        </p:spPr>
        <p:txBody>
          <a:bodyPr>
            <a:noAutofit/>
          </a:bodyPr>
          <a:lstStyle>
            <a:lvl1pPr>
              <a:defRPr sz="3600">
                <a:solidFill>
                  <a:schemeClr val="bg1"/>
                </a:solidFill>
              </a:defRPr>
            </a:lvl1pPr>
            <a:lvl2pPr>
              <a:defRPr sz="3200">
                <a:solidFill>
                  <a:schemeClr val="bg1"/>
                </a:solidFill>
              </a:defRPr>
            </a:lvl2pPr>
            <a:lvl3pPr>
              <a:defRPr sz="3200">
                <a:solidFill>
                  <a:schemeClr val="bg1"/>
                </a:solidFill>
              </a:defRPr>
            </a:lvl3pPr>
            <a:lvl4pPr>
              <a:defRPr sz="3200">
                <a:solidFill>
                  <a:schemeClr val="bg1"/>
                </a:solidFill>
              </a:defRPr>
            </a:lvl4pPr>
            <a:lvl5pPr>
              <a:defRPr sz="32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tt inn </a:t>
            </a:r>
            <a:r>
              <a:rPr lang="en-GB" err="1"/>
              <a:t>tekst</a:t>
            </a:r>
            <a:endParaRPr lang="en-GB"/>
          </a:p>
        </p:txBody>
      </p:sp>
      <p:sp>
        <p:nvSpPr>
          <p:cNvPr id="44" name="Text Placeholder 43">
            <a:extLst>
              <a:ext uri="{FF2B5EF4-FFF2-40B4-BE49-F238E27FC236}">
                <a16:creationId xmlns:a16="http://schemas.microsoft.com/office/drawing/2014/main" id="{42E7D33E-509E-8244-A2F4-3DDFF32EA0A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15762" y="9037416"/>
            <a:ext cx="4860610" cy="646331"/>
          </a:xfrm>
        </p:spPr>
        <p:txBody>
          <a:bodyPr anchor="ctr" anchorCtr="0">
            <a:spAutoFit/>
          </a:bodyPr>
          <a:lstStyle>
            <a:lvl1pPr marL="0" indent="0">
              <a:buNone/>
              <a:defRPr sz="4000"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914354" indent="0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828709" indent="0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2743063" indent="0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3657417" indent="0">
              <a:buNone/>
              <a:defRPr b="1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GB" err="1"/>
              <a:t>Skriv</a:t>
            </a:r>
            <a:r>
              <a:rPr lang="en-GB"/>
              <a:t> </a:t>
            </a:r>
            <a:r>
              <a:rPr lang="en-GB" err="1"/>
              <a:t>tittel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2032413561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rganisasjonsk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6073E238-0F35-C644-90F8-CE5BE9B68CF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612128" y="1515779"/>
            <a:ext cx="11158158" cy="1061829"/>
          </a:xfrm>
        </p:spPr>
        <p:txBody>
          <a:bodyPr wrap="square" anchor="ctr">
            <a:spAutoFit/>
          </a:bodyPr>
          <a:lstStyle>
            <a:lvl1pPr marL="0" indent="0" algn="ctr">
              <a:buNone/>
              <a:defRPr sz="7000" b="1" i="0">
                <a:solidFill>
                  <a:srgbClr val="FFFFFF"/>
                </a:solidFill>
                <a:latin typeface="+mj-lt"/>
                <a:cs typeface="Arial" panose="020B0604020202020204" pitchFamily="34" charset="0"/>
              </a:defRPr>
            </a:lvl1pPr>
          </a:lstStyle>
          <a:p>
            <a:pPr lvl="0"/>
            <a:r>
              <a:rPr lang="en-GB" err="1"/>
              <a:t>Organisasjonskart</a:t>
            </a:r>
            <a:endParaRPr lang="en-NO"/>
          </a:p>
        </p:txBody>
      </p:sp>
      <p:pic>
        <p:nvPicPr>
          <p:cNvPr id="11" name="Picture 10" descr="Logo&#10;&#10;Description automatically generated with medium confidence">
            <a:extLst>
              <a:ext uri="{FF2B5EF4-FFF2-40B4-BE49-F238E27FC236}">
                <a16:creationId xmlns:a16="http://schemas.microsoft.com/office/drawing/2014/main" id="{23432CD2-7F5C-924A-A6AA-DDAA4A6C30D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976226"/>
            <a:ext cx="3599766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2076644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Logo&#10;&#10;Description automatically generated with medium confidence">
            <a:extLst>
              <a:ext uri="{FF2B5EF4-FFF2-40B4-BE49-F238E27FC236}">
                <a16:creationId xmlns:a16="http://schemas.microsoft.com/office/drawing/2014/main" id="{A8ED26D8-9647-1E40-B555-9A34EB84A87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213586" y="-976226"/>
            <a:ext cx="3599766" cy="36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716050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5044965A-3EC3-4859-B3D7-CECC1A21668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8CD29366-6209-4550-86B4-1B598D99E15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2860155A-4D55-43F0-8799-284C748F32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7484E25E-542B-4ECB-9E08-10BC9C9536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Tonje Lorem - Avdelingsleder</a:t>
            </a:r>
            <a:endParaRPr lang="nb-NO"/>
          </a:p>
        </p:txBody>
      </p:sp>
      <p:sp>
        <p:nvSpPr>
          <p:cNvPr id="6" name="Plassholder for lysbildenummer 5">
            <a:extLst>
              <a:ext uri="{FF2B5EF4-FFF2-40B4-BE49-F238E27FC236}">
                <a16:creationId xmlns:a16="http://schemas.microsoft.com/office/drawing/2014/main" id="{4AB4B971-A07E-4394-96D3-6E3F309B14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A70350-0F25-41D0-AFB8-F13FCCE1EADA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3341934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tel og innhold +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17DA1664-57A6-4C09-9BBF-0EBF03A6FA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05496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9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17DA1664-57A6-4C09-9BBF-0EBF03A6FA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e 7" descr="Et bilde som inneholder tekst, konvolutt, brevhode, visittkort&#10;&#10;Automatisk generert beskrivelse">
            <a:extLst>
              <a:ext uri="{FF2B5EF4-FFF2-40B4-BE49-F238E27FC236}">
                <a16:creationId xmlns:a16="http://schemas.microsoft.com/office/drawing/2014/main" id="{693834F5-AA7D-46E3-84BA-E6BD0E8D9E52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5206" y="0"/>
            <a:ext cx="6858000" cy="13716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4" y="3981599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6A70C43-E7CB-4D91-B739-55E43F263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0163E0A-6D72-4F46-A59E-F6B3A730B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7DCB8B-75D1-4E5A-9008-E6CD4538A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Tonje Lorem - Avdelingsleder</a:t>
            </a:r>
            <a:endParaRPr lang="nb-NO" dirty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98A5015-B64B-43EC-A212-5090ED7FE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3929943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tel og innhold + Grafik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DE538454-ABBE-4E79-9180-754D8E4233E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99566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3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DE538454-ABBE-4E79-9180-754D8E4233E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de 7">
            <a:extLst>
              <a:ext uri="{FF2B5EF4-FFF2-40B4-BE49-F238E27FC236}">
                <a16:creationId xmlns:a16="http://schemas.microsoft.com/office/drawing/2014/main" id="{FE0C6858-18EF-4840-92F2-1026259A73C6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524413" y="0"/>
            <a:ext cx="6858000" cy="1371600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4" y="3981599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76A70C43-E7CB-4D91-B739-55E43F2632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>
            <a:extLst>
              <a:ext uri="{FF2B5EF4-FFF2-40B4-BE49-F238E27FC236}">
                <a16:creationId xmlns:a16="http://schemas.microsoft.com/office/drawing/2014/main" id="{60163E0A-6D72-4F46-A59E-F6B3A730BB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5" name="Plassholder for bunntekst 4">
            <a:extLst>
              <a:ext uri="{FF2B5EF4-FFF2-40B4-BE49-F238E27FC236}">
                <a16:creationId xmlns:a16="http://schemas.microsoft.com/office/drawing/2014/main" id="{A47DCB8B-75D1-4E5A-9008-E6CD4538A79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Tonje Lorem - Avdelingsleder</a:t>
            </a:r>
            <a:endParaRPr lang="nb-NO" dirty="0"/>
          </a:p>
        </p:txBody>
      </p:sp>
      <p:sp>
        <p:nvSpPr>
          <p:cNvPr id="7" name="Plassholder for lysbildenummer 6">
            <a:extLst>
              <a:ext uri="{FF2B5EF4-FFF2-40B4-BE49-F238E27FC236}">
                <a16:creationId xmlns:a16="http://schemas.microsoft.com/office/drawing/2014/main" id="{298A5015-B64B-43EC-A212-5090ED7FE8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633284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 + Grafikk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925344" y="3981599"/>
            <a:ext cx="15379869" cy="8301600"/>
          </a:xfr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grpSp>
        <p:nvGrpSpPr>
          <p:cNvPr id="12" name="Stående form 6">
            <a:extLst>
              <a:ext uri="{FF2B5EF4-FFF2-40B4-BE49-F238E27FC236}">
                <a16:creationId xmlns:a16="http://schemas.microsoft.com/office/drawing/2014/main" id="{B4F0492E-516C-4E72-A987-D2592A10211E}"/>
              </a:ext>
            </a:extLst>
          </p:cNvPr>
          <p:cNvGrpSpPr/>
          <p:nvPr userDrawn="1"/>
        </p:nvGrpSpPr>
        <p:grpSpPr>
          <a:xfrm>
            <a:off x="17522924" y="0"/>
            <a:ext cx="6859488" cy="13718976"/>
            <a:chOff x="17522925" y="0"/>
            <a:chExt cx="6859488" cy="13718976"/>
          </a:xfrm>
        </p:grpSpPr>
        <p:sp>
          <p:nvSpPr>
            <p:cNvPr id="13" name="bakgrunn">
              <a:extLst>
                <a:ext uri="{FF2B5EF4-FFF2-40B4-BE49-F238E27FC236}">
                  <a16:creationId xmlns:a16="http://schemas.microsoft.com/office/drawing/2014/main" id="{81F3C32A-73E8-4F9B-A044-BC273CB81A73}"/>
                </a:ext>
              </a:extLst>
            </p:cNvPr>
            <p:cNvSpPr/>
            <p:nvPr/>
          </p:nvSpPr>
          <p:spPr>
            <a:xfrm>
              <a:off x="17522925" y="0"/>
              <a:ext cx="6859488" cy="13718976"/>
            </a:xfrm>
            <a:custGeom>
              <a:avLst/>
              <a:gdLst>
                <a:gd name="connsiteX0" fmla="*/ 0 w 6859488"/>
                <a:gd name="connsiteY0" fmla="*/ 0 h 13718976"/>
                <a:gd name="connsiteX1" fmla="*/ 6859488 w 6859488"/>
                <a:gd name="connsiteY1" fmla="*/ 0 h 13718976"/>
                <a:gd name="connsiteX2" fmla="*/ 6859488 w 6859488"/>
                <a:gd name="connsiteY2" fmla="*/ 13718976 h 13718976"/>
                <a:gd name="connsiteX3" fmla="*/ 0 w 6859488"/>
                <a:gd name="connsiteY3" fmla="*/ 13718976 h 1371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59488" h="13718976">
                  <a:moveTo>
                    <a:pt x="0" y="0"/>
                  </a:moveTo>
                  <a:lnTo>
                    <a:pt x="6859488" y="0"/>
                  </a:lnTo>
                  <a:lnTo>
                    <a:pt x="6859488" y="13718976"/>
                  </a:lnTo>
                  <a:lnTo>
                    <a:pt x="0" y="13718976"/>
                  </a:lnTo>
                  <a:close/>
                </a:path>
              </a:pathLst>
            </a:custGeom>
            <a:solidFill>
              <a:schemeClr val="bg2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  <p:sp>
          <p:nvSpPr>
            <p:cNvPr id="14" name="forgrunn">
              <a:extLst>
                <a:ext uri="{FF2B5EF4-FFF2-40B4-BE49-F238E27FC236}">
                  <a16:creationId xmlns:a16="http://schemas.microsoft.com/office/drawing/2014/main" id="{FDB1F66A-A870-4ED2-B5A6-D90FE45609E0}"/>
                </a:ext>
              </a:extLst>
            </p:cNvPr>
            <p:cNvSpPr/>
            <p:nvPr/>
          </p:nvSpPr>
          <p:spPr>
            <a:xfrm>
              <a:off x="17522925" y="0"/>
              <a:ext cx="6859488" cy="13718976"/>
            </a:xfrm>
            <a:custGeom>
              <a:avLst/>
              <a:gdLst>
                <a:gd name="connsiteX0" fmla="*/ 4100068 w 6859488"/>
                <a:gd name="connsiteY0" fmla="*/ 4822601 h 13718976"/>
                <a:gd name="connsiteX1" fmla="*/ 2107768 w 6859488"/>
                <a:gd name="connsiteY1" fmla="*/ 1371898 h 13718976"/>
                <a:gd name="connsiteX2" fmla="*/ 4484073 w 6859488"/>
                <a:gd name="connsiteY2" fmla="*/ 0 h 13718976"/>
                <a:gd name="connsiteX3" fmla="*/ 6476500 w 6859488"/>
                <a:gd name="connsiteY3" fmla="*/ 3451085 h 13718976"/>
                <a:gd name="connsiteX4" fmla="*/ 6859488 w 6859488"/>
                <a:gd name="connsiteY4" fmla="*/ 3429744 h 13718976"/>
                <a:gd name="connsiteX5" fmla="*/ 6859488 w 6859488"/>
                <a:gd name="connsiteY5" fmla="*/ 10289232 h 13718976"/>
                <a:gd name="connsiteX6" fmla="*/ 6473578 w 6859488"/>
                <a:gd name="connsiteY6" fmla="*/ 10267510 h 13718976"/>
                <a:gd name="connsiteX7" fmla="*/ 4480897 w 6859488"/>
                <a:gd name="connsiteY7" fmla="*/ 13718976 h 13718976"/>
                <a:gd name="connsiteX8" fmla="*/ 4480897 w 6859488"/>
                <a:gd name="connsiteY8" fmla="*/ 13718976 h 13718976"/>
                <a:gd name="connsiteX9" fmla="*/ 2104720 w 6859488"/>
                <a:gd name="connsiteY9" fmla="*/ 12347078 h 13718976"/>
                <a:gd name="connsiteX10" fmla="*/ 4098290 w 6859488"/>
                <a:gd name="connsiteY10" fmla="*/ 8893961 h 13718976"/>
                <a:gd name="connsiteX11" fmla="*/ 3715429 w 6859488"/>
                <a:gd name="connsiteY11" fmla="*/ 8231386 h 13718976"/>
                <a:gd name="connsiteX12" fmla="*/ 0 w 6859488"/>
                <a:gd name="connsiteY12" fmla="*/ 8231386 h 13718976"/>
                <a:gd name="connsiteX13" fmla="*/ 0 w 6859488"/>
                <a:gd name="connsiteY13" fmla="*/ 5487591 h 13718976"/>
                <a:gd name="connsiteX14" fmla="*/ 3715429 w 6859488"/>
                <a:gd name="connsiteY14" fmla="*/ 5487591 h 13718976"/>
                <a:gd name="connsiteX15" fmla="*/ 4100068 w 6859488"/>
                <a:gd name="connsiteY15" fmla="*/ 4822601 h 137189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</a:cxnLst>
              <a:rect l="l" t="t" r="r" b="b"/>
              <a:pathLst>
                <a:path w="6859488" h="13718976">
                  <a:moveTo>
                    <a:pt x="4100068" y="4822601"/>
                  </a:moveTo>
                  <a:lnTo>
                    <a:pt x="2107768" y="1371898"/>
                  </a:lnTo>
                  <a:lnTo>
                    <a:pt x="4484073" y="0"/>
                  </a:lnTo>
                  <a:lnTo>
                    <a:pt x="6476500" y="3451085"/>
                  </a:lnTo>
                  <a:cubicBezTo>
                    <a:pt x="6603668" y="3436908"/>
                    <a:pt x="6731533" y="3429782"/>
                    <a:pt x="6859488" y="3429744"/>
                  </a:cubicBezTo>
                  <a:lnTo>
                    <a:pt x="6859488" y="10289232"/>
                  </a:lnTo>
                  <a:cubicBezTo>
                    <a:pt x="6730543" y="10289194"/>
                    <a:pt x="6601711" y="10281941"/>
                    <a:pt x="6473578" y="10267510"/>
                  </a:cubicBezTo>
                  <a:lnTo>
                    <a:pt x="4480897" y="13718976"/>
                  </a:lnTo>
                  <a:lnTo>
                    <a:pt x="4480897" y="13718976"/>
                  </a:lnTo>
                  <a:lnTo>
                    <a:pt x="2104720" y="12347078"/>
                  </a:lnTo>
                  <a:lnTo>
                    <a:pt x="4098290" y="8893961"/>
                  </a:lnTo>
                  <a:cubicBezTo>
                    <a:pt x="3946302" y="8688113"/>
                    <a:pt x="3817877" y="8465866"/>
                    <a:pt x="3715429" y="8231386"/>
                  </a:cubicBezTo>
                  <a:lnTo>
                    <a:pt x="0" y="8231386"/>
                  </a:lnTo>
                  <a:lnTo>
                    <a:pt x="0" y="5487591"/>
                  </a:lnTo>
                  <a:lnTo>
                    <a:pt x="3715429" y="5487591"/>
                  </a:lnTo>
                  <a:cubicBezTo>
                    <a:pt x="3818271" y="5252196"/>
                    <a:pt x="3947305" y="5029123"/>
                    <a:pt x="4100068" y="4822601"/>
                  </a:cubicBezTo>
                  <a:close/>
                </a:path>
              </a:pathLst>
            </a:custGeom>
            <a:solidFill>
              <a:schemeClr val="accent3"/>
            </a:solidFill>
            <a:ln w="1270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nb-NO"/>
            </a:p>
          </p:txBody>
        </p:sp>
      </p:grpSp>
      <p:sp>
        <p:nvSpPr>
          <p:cNvPr id="2" name="Tittel 1">
            <a:extLst>
              <a:ext uri="{FF2B5EF4-FFF2-40B4-BE49-F238E27FC236}">
                <a16:creationId xmlns:a16="http://schemas.microsoft.com/office/drawing/2014/main" id="{7FF82F5F-E28D-4AF4-8B2D-24547E6CF9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8" name="Plassholder for dato 7">
            <a:extLst>
              <a:ext uri="{FF2B5EF4-FFF2-40B4-BE49-F238E27FC236}">
                <a16:creationId xmlns:a16="http://schemas.microsoft.com/office/drawing/2014/main" id="{BEF7A0BB-70C8-4899-BEF5-B61009A3691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9" name="Plassholder for bunntekst 8">
            <a:extLst>
              <a:ext uri="{FF2B5EF4-FFF2-40B4-BE49-F238E27FC236}">
                <a16:creationId xmlns:a16="http://schemas.microsoft.com/office/drawing/2014/main" id="{4DEF32E5-EDBC-42C0-A899-F11A6C9384F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Tonje Lorem - Avdelingsleder</a:t>
            </a:r>
            <a:endParaRPr lang="nb-NO" dirty="0"/>
          </a:p>
        </p:txBody>
      </p:sp>
      <p:sp>
        <p:nvSpPr>
          <p:cNvPr id="10" name="Plassholder for lysbildenummer 9">
            <a:extLst>
              <a:ext uri="{FF2B5EF4-FFF2-40B4-BE49-F238E27FC236}">
                <a16:creationId xmlns:a16="http://schemas.microsoft.com/office/drawing/2014/main" id="{19D459CF-4735-47AB-A147-C5A7240FD65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3096194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Klikk for å legge til tekst. Bruk innrykk-knappene eller TAB for å lage punkter i flere nivåer. </a:t>
            </a:r>
            <a:br>
              <a:rPr lang="nb-NO"/>
            </a:br>
            <a:r>
              <a:rPr lang="nb-NO"/>
              <a:t>Flere oppsett finnes på</a:t>
            </a:r>
            <a:r>
              <a:rPr lang="en-US"/>
              <a:t> </a:t>
            </a:r>
            <a:r>
              <a:rPr lang="en-US" err="1"/>
              <a:t>Hjem-fanen</a:t>
            </a:r>
            <a:r>
              <a:rPr lang="en-US"/>
              <a:t> under </a:t>
            </a:r>
            <a:r>
              <a:rPr lang="en-US" err="1"/>
              <a:t>knappene</a:t>
            </a:r>
            <a:r>
              <a:rPr lang="en-US"/>
              <a:t> “</a:t>
            </a:r>
            <a:r>
              <a:rPr lang="en-US" err="1"/>
              <a:t>Nytt</a:t>
            </a:r>
            <a:r>
              <a:rPr lang="en-US"/>
              <a:t> </a:t>
            </a:r>
            <a:r>
              <a:rPr lang="en-US" err="1"/>
              <a:t>lysbilde</a:t>
            </a:r>
            <a:r>
              <a:rPr lang="en-US"/>
              <a:t>” </a:t>
            </a:r>
            <a:r>
              <a:rPr lang="en-US" err="1"/>
              <a:t>og</a:t>
            </a:r>
            <a:r>
              <a:rPr lang="en-US"/>
              <a:t> “</a:t>
            </a:r>
            <a:r>
              <a:rPr lang="en-US" err="1"/>
              <a:t>Oppsett</a:t>
            </a:r>
            <a:r>
              <a:rPr lang="en-US"/>
              <a:t>”</a:t>
            </a:r>
            <a:endParaRPr lang="nb-NO"/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49FDD2B0-FD5A-4FED-AABD-DAC49CCE25A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11" name="Plassholder for dato 10">
            <a:extLst>
              <a:ext uri="{FF2B5EF4-FFF2-40B4-BE49-F238E27FC236}">
                <a16:creationId xmlns:a16="http://schemas.microsoft.com/office/drawing/2014/main" id="{71AEB03C-49C9-4038-A702-E8EE0FE2CD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12" name="Plassholder for bunntekst 11">
            <a:extLst>
              <a:ext uri="{FF2B5EF4-FFF2-40B4-BE49-F238E27FC236}">
                <a16:creationId xmlns:a16="http://schemas.microsoft.com/office/drawing/2014/main" id="{FF510649-0510-43EE-A535-1E6E3A63A5A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nb-NO" smtClean="0"/>
              <a:t>Tonje Lorem - Avdelingsleder</a:t>
            </a:r>
            <a:endParaRPr lang="nb-NO" dirty="0"/>
          </a:p>
        </p:txBody>
      </p:sp>
      <p:sp>
        <p:nvSpPr>
          <p:cNvPr id="13" name="Plassholder for lysbildenummer 12">
            <a:extLst>
              <a:ext uri="{FF2B5EF4-FFF2-40B4-BE49-F238E27FC236}">
                <a16:creationId xmlns:a16="http://schemas.microsoft.com/office/drawing/2014/main" id="{AC798CC6-85F1-4935-AD23-28673C01C6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98753411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sv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0.xml"/><Relationship Id="rId18" Type="http://schemas.openxmlformats.org/officeDocument/2006/relationships/slideLayout" Target="../slideLayouts/slideLayout35.xml"/><Relationship Id="rId26" Type="http://schemas.openxmlformats.org/officeDocument/2006/relationships/slideLayout" Target="../slideLayouts/slideLayout43.xml"/><Relationship Id="rId21" Type="http://schemas.openxmlformats.org/officeDocument/2006/relationships/slideLayout" Target="../slideLayouts/slideLayout38.xml"/><Relationship Id="rId34" Type="http://schemas.openxmlformats.org/officeDocument/2006/relationships/slideLayout" Target="../slideLayouts/slideLayout51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slideLayout" Target="../slideLayouts/slideLayout34.xml"/><Relationship Id="rId25" Type="http://schemas.openxmlformats.org/officeDocument/2006/relationships/slideLayout" Target="../slideLayouts/slideLayout42.xml"/><Relationship Id="rId33" Type="http://schemas.openxmlformats.org/officeDocument/2006/relationships/slideLayout" Target="../slideLayouts/slideLayout50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20" Type="http://schemas.openxmlformats.org/officeDocument/2006/relationships/slideLayout" Target="../slideLayouts/slideLayout37.xml"/><Relationship Id="rId29" Type="http://schemas.openxmlformats.org/officeDocument/2006/relationships/slideLayout" Target="../slideLayouts/slideLayout46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24" Type="http://schemas.openxmlformats.org/officeDocument/2006/relationships/slideLayout" Target="../slideLayouts/slideLayout41.xml"/><Relationship Id="rId32" Type="http://schemas.openxmlformats.org/officeDocument/2006/relationships/slideLayout" Target="../slideLayouts/slideLayout49.xml"/><Relationship Id="rId37" Type="http://schemas.openxmlformats.org/officeDocument/2006/relationships/theme" Target="../theme/theme2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23" Type="http://schemas.openxmlformats.org/officeDocument/2006/relationships/slideLayout" Target="../slideLayouts/slideLayout40.xml"/><Relationship Id="rId28" Type="http://schemas.openxmlformats.org/officeDocument/2006/relationships/slideLayout" Target="../slideLayouts/slideLayout45.xml"/><Relationship Id="rId36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27.xml"/><Relationship Id="rId19" Type="http://schemas.openxmlformats.org/officeDocument/2006/relationships/slideLayout" Target="../slideLayouts/slideLayout36.xml"/><Relationship Id="rId31" Type="http://schemas.openxmlformats.org/officeDocument/2006/relationships/slideLayout" Target="../slideLayouts/slideLayout48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Relationship Id="rId22" Type="http://schemas.openxmlformats.org/officeDocument/2006/relationships/slideLayout" Target="../slideLayouts/slideLayout39.xml"/><Relationship Id="rId27" Type="http://schemas.openxmlformats.org/officeDocument/2006/relationships/slideLayout" Target="../slideLayouts/slideLayout44.xml"/><Relationship Id="rId30" Type="http://schemas.openxmlformats.org/officeDocument/2006/relationships/slideLayout" Target="../slideLayouts/slideLayout47.xml"/><Relationship Id="rId35" Type="http://schemas.openxmlformats.org/officeDocument/2006/relationships/slideLayout" Target="../slideLayouts/slideLayout52.xml"/><Relationship Id="rId8" Type="http://schemas.openxmlformats.org/officeDocument/2006/relationships/slideLayout" Target="../slideLayouts/slideLayout25.xml"/><Relationship Id="rId3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FBAE07A7-9636-4735-A608-44AEF10746F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42142138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1" name="think-cell Slide" r:id="rId21" imgW="395" imgH="396" progId="TCLayout.ActiveDocument.1">
                  <p:embed/>
                </p:oleObj>
              </mc:Choice>
              <mc:Fallback>
                <p:oleObj name="think-cell Slide" r:id="rId21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FBAE07A7-9636-4735-A608-44AEF10746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Grafikk 14">
            <a:extLst>
              <a:ext uri="{FF2B5EF4-FFF2-40B4-BE49-F238E27FC236}">
                <a16:creationId xmlns:a16="http://schemas.microsoft.com/office/drawing/2014/main" id="{3CC62ABC-6F05-4B52-A41F-AF451D41F228}"/>
              </a:ext>
            </a:extLst>
          </p:cNvPr>
          <p:cNvPicPr>
            <a:picLocks noChangeAspect="1"/>
          </p:cNvPicPr>
          <p:nvPr userDrawn="1"/>
        </p:nvPicPr>
        <p:blipFill>
          <a:blip r:embed="rId23">
            <a:extLst>
              <a:ext uri="{96DAC541-7B7A-43D3-8B79-37D633B846F1}">
                <asvg:svgBlip xmlns:asvg="http://schemas.microsoft.com/office/drawing/2016/SVG/main" xmlns="" r:embed="rId24"/>
              </a:ext>
            </a:extLst>
          </a:blip>
          <a:stretch>
            <a:fillRect/>
          </a:stretch>
        </p:blipFill>
        <p:spPr>
          <a:xfrm>
            <a:off x="925344" y="1017010"/>
            <a:ext cx="2522218" cy="692724"/>
          </a:xfrm>
          <a:prstGeom prst="rect">
            <a:avLst/>
          </a:prstGeom>
        </p:spPr>
      </p:pic>
      <p:sp>
        <p:nvSpPr>
          <p:cNvPr id="14" name="ToolsToo_Slide" descr="ToolsToo_Slide">
            <a:extLst>
              <a:ext uri="{FF2B5EF4-FFF2-40B4-BE49-F238E27FC236}">
                <a16:creationId xmlns:a16="http://schemas.microsoft.com/office/drawing/2014/main" id="{CCFB0DC5-21B6-45D5-B1DC-1E5BDE119AEC}"/>
              </a:ext>
            </a:extLst>
          </p:cNvPr>
          <p:cNvSpPr/>
          <p:nvPr userDrawn="1"/>
        </p:nvSpPr>
        <p:spPr>
          <a:xfrm>
            <a:off x="0" y="0"/>
            <a:ext cx="24382413" cy="137160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925344" y="2559050"/>
            <a:ext cx="22531725" cy="1084482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Autofit/>
          </a:bodyPr>
          <a:lstStyle/>
          <a:p>
            <a:r>
              <a:rPr lang="nb-NO"/>
              <a:t>Klikk for å redigere tittelstil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25344" y="3980259"/>
            <a:ext cx="22531725" cy="830179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b-NO" dirty="0"/>
              <a:t>Klikk for å redigere tekststiler i malen</a:t>
            </a:r>
          </a:p>
          <a:p>
            <a:pPr lvl="1"/>
            <a:r>
              <a:rPr lang="nb-NO" dirty="0"/>
              <a:t>Klikk for andre nivå</a:t>
            </a:r>
          </a:p>
          <a:p>
            <a:pPr lvl="2"/>
            <a:r>
              <a:rPr lang="nb-NO" dirty="0"/>
              <a:t>Klikk for 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25511" y="12442191"/>
            <a:ext cx="477839" cy="73025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l">
              <a:defRPr sz="1800">
                <a:solidFill>
                  <a:schemeClr val="tx1"/>
                </a:solidFill>
              </a:defRPr>
            </a:lvl1pPr>
          </a:lstStyle>
          <a:p>
            <a:fld id="{356FC300-6EA6-4657-9829-8E9817A3066F}" type="slidenum">
              <a:rPr lang="nb-NO" smtClean="0"/>
              <a:pPr/>
              <a:t>‹#›</a:t>
            </a:fld>
            <a:endParaRPr lang="nb-NO"/>
          </a:p>
        </p:txBody>
      </p:sp>
      <p:sp>
        <p:nvSpPr>
          <p:cNvPr id="12" name="Plassholder for dato 11">
            <a:extLst>
              <a:ext uri="{FF2B5EF4-FFF2-40B4-BE49-F238E27FC236}">
                <a16:creationId xmlns:a16="http://schemas.microsoft.com/office/drawing/2014/main" id="{5F4300FF-D0AD-48FA-AD26-7679CEC8B73D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1487600" y="12442191"/>
            <a:ext cx="1357200" cy="730250"/>
          </a:xfrm>
          <a:prstGeom prst="rect">
            <a:avLst/>
          </a:prstGeom>
        </p:spPr>
        <p:txBody>
          <a:bodyPr vert="horz" lIns="91440" tIns="45720" rIns="0" bIns="45720" rtlCol="0" anchor="ctr"/>
          <a:lstStyle>
            <a:lvl1pPr algn="l">
              <a:defRPr lang="nb-NO" smtClean="0"/>
            </a:lvl1pPr>
          </a:lstStyle>
          <a:p>
            <a:endParaRPr lang="nb-NO"/>
          </a:p>
        </p:txBody>
      </p:sp>
      <p:sp>
        <p:nvSpPr>
          <p:cNvPr id="13" name="Plassholder for bunntekst 12">
            <a:extLst>
              <a:ext uri="{FF2B5EF4-FFF2-40B4-BE49-F238E27FC236}">
                <a16:creationId xmlns:a16="http://schemas.microsoft.com/office/drawing/2014/main" id="{9B4E5F6F-A453-47FC-856E-A87FF67CE8D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929048" y="12442191"/>
            <a:ext cx="13368227" cy="730250"/>
          </a:xfrm>
          <a:prstGeom prst="rect">
            <a:avLst/>
          </a:prstGeom>
        </p:spPr>
        <p:txBody>
          <a:bodyPr vert="horz" lIns="90000" tIns="45720" rIns="90000" bIns="45720" rtlCol="0" anchor="ctr"/>
          <a:lstStyle>
            <a:lvl1pPr algn="l">
              <a:defRPr lang="nb-NO" cap="all" baseline="0"/>
            </a:lvl1pPr>
          </a:lstStyle>
          <a:p>
            <a:r>
              <a:rPr lang="nb-NO" smtClean="0"/>
              <a:t>Tonje Lorem - Avdelingsleder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03616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90" r:id="rId2"/>
    <p:sldLayoutId id="2147483673" r:id="rId3"/>
    <p:sldLayoutId id="2147483662" r:id="rId4"/>
    <p:sldLayoutId id="2147483688" r:id="rId5"/>
    <p:sldLayoutId id="2147483687" r:id="rId6"/>
    <p:sldLayoutId id="2147483686" r:id="rId7"/>
    <p:sldLayoutId id="2147483682" r:id="rId8"/>
    <p:sldLayoutId id="2147483675" r:id="rId9"/>
    <p:sldLayoutId id="2147483676" r:id="rId10"/>
    <p:sldLayoutId id="2147483666" r:id="rId11"/>
    <p:sldLayoutId id="2147483667" r:id="rId12"/>
    <p:sldLayoutId id="2147483677" r:id="rId13"/>
    <p:sldLayoutId id="2147483684" r:id="rId14"/>
    <p:sldLayoutId id="2147483685" r:id="rId15"/>
    <p:sldLayoutId id="2147483680" r:id="rId16"/>
    <p:sldLayoutId id="2147483689" r:id="rId17"/>
  </p:sldLayoutIdLst>
  <p:hf sldNum="0"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70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44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1pPr>
      <a:lvl2pPr marL="7884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2pPr>
      <a:lvl3pPr marL="14040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3pPr>
      <a:lvl4pPr marL="19800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4pPr>
      <a:lvl5pPr marL="2700000" indent="-284400" algn="l" defTabSz="1828709" rtl="0" eaLnBrk="1" latinLnBrk="0" hangingPunct="1">
        <a:lnSpc>
          <a:spcPts val="5000"/>
        </a:lnSpc>
        <a:spcBef>
          <a:spcPts val="0"/>
        </a:spcBef>
        <a:buFont typeface="Arial" panose="020B0604020202020204" pitchFamily="34" charset="0"/>
        <a:buChar char="•"/>
        <a:defRPr sz="3500" kern="1200">
          <a:solidFill>
            <a:schemeClr val="tx1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4320" userDrawn="1">
          <p15:clr>
            <a:srgbClr val="F26B43"/>
          </p15:clr>
        </p15:guide>
        <p15:guide id="2" pos="640" userDrawn="1">
          <p15:clr>
            <a:srgbClr val="F26B43"/>
          </p15:clr>
        </p15:guide>
        <p15:guide id="3" pos="4958" userDrawn="1">
          <p15:clr>
            <a:srgbClr val="F26B43"/>
          </p15:clr>
        </p15:guide>
        <p15:guide id="4" pos="5519" userDrawn="1">
          <p15:clr>
            <a:srgbClr val="F26B43"/>
          </p15:clr>
        </p15:guide>
        <p15:guide id="5" pos="9838" userDrawn="1">
          <p15:clr>
            <a:srgbClr val="F26B43"/>
          </p15:clr>
        </p15:guide>
        <p15:guide id="6" pos="10399" userDrawn="1">
          <p15:clr>
            <a:srgbClr val="F26B43"/>
          </p15:clr>
        </p15:guide>
        <p15:guide id="7" pos="14719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88E438B9-23A5-FC4C-B525-8822EB97E0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76291" y="730251"/>
            <a:ext cx="21029831" cy="26511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/>
              <a:t>Klikk for å redigere tittelstil</a:t>
            </a:r>
            <a:endParaRPr lang="en-NO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68FD0F7-B112-6148-8978-DD5E0ACACB00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76291" y="3651250"/>
            <a:ext cx="21029831" cy="870267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NO"/>
          </a:p>
        </p:txBody>
      </p:sp>
    </p:spTree>
    <p:extLst>
      <p:ext uri="{BB962C8B-B14F-4D97-AF65-F5344CB8AC3E}">
        <p14:creationId xmlns:p14="http://schemas.microsoft.com/office/powerpoint/2010/main" val="1070426978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94" r:id="rId1"/>
    <p:sldLayoutId id="2147483695" r:id="rId2"/>
    <p:sldLayoutId id="2147483696" r:id="rId3"/>
    <p:sldLayoutId id="2147483697" r:id="rId4"/>
    <p:sldLayoutId id="2147483698" r:id="rId5"/>
    <p:sldLayoutId id="2147483699" r:id="rId6"/>
    <p:sldLayoutId id="2147483700" r:id="rId7"/>
    <p:sldLayoutId id="2147483701" r:id="rId8"/>
    <p:sldLayoutId id="2147483702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711" r:id="rId18"/>
    <p:sldLayoutId id="2147483712" r:id="rId19"/>
    <p:sldLayoutId id="2147483713" r:id="rId20"/>
    <p:sldLayoutId id="2147483714" r:id="rId21"/>
    <p:sldLayoutId id="2147483715" r:id="rId22"/>
    <p:sldLayoutId id="2147483716" r:id="rId23"/>
    <p:sldLayoutId id="2147483717" r:id="rId24"/>
    <p:sldLayoutId id="2147483718" r:id="rId25"/>
    <p:sldLayoutId id="2147483719" r:id="rId26"/>
    <p:sldLayoutId id="2147483720" r:id="rId27"/>
    <p:sldLayoutId id="2147483721" r:id="rId28"/>
    <p:sldLayoutId id="2147483722" r:id="rId29"/>
    <p:sldLayoutId id="2147483723" r:id="rId30"/>
    <p:sldLayoutId id="2147483724" r:id="rId31"/>
    <p:sldLayoutId id="2147483725" r:id="rId32"/>
    <p:sldLayoutId id="2147483726" r:id="rId33"/>
    <p:sldLayoutId id="2147483727" r:id="rId34"/>
    <p:sldLayoutId id="2147483728" r:id="rId35"/>
    <p:sldLayoutId id="2147483729" r:id="rId36"/>
  </p:sldLayoutIdLst>
  <p:hf sldNum="0" hdr="0" ftr="0" dt="0"/>
  <p:txStyles>
    <p:titleStyle>
      <a:lvl1pPr algn="l" defTabSz="1828709" rtl="0" eaLnBrk="1" latinLnBrk="0" hangingPunct="1">
        <a:lnSpc>
          <a:spcPct val="90000"/>
        </a:lnSpc>
        <a:spcBef>
          <a:spcPct val="0"/>
        </a:spcBef>
        <a:buNone/>
        <a:defRPr sz="7000" b="1" kern="1200">
          <a:solidFill>
            <a:srgbClr val="FFFFFF"/>
          </a:solidFill>
          <a:latin typeface="+mj-lt"/>
          <a:ea typeface="+mj-ea"/>
          <a:cs typeface="+mj-cs"/>
        </a:defRPr>
      </a:lvl1pPr>
    </p:titleStyle>
    <p:bodyStyle>
      <a:lvl1pPr marL="457177" indent="-457177" algn="l" defTabSz="1828709" rtl="0" eaLnBrk="1" latinLnBrk="0" hangingPunct="1">
        <a:lnSpc>
          <a:spcPct val="90000"/>
        </a:lnSpc>
        <a:spcBef>
          <a:spcPts val="2000"/>
        </a:spcBef>
        <a:buFont typeface="Arial" panose="020B0604020202020204" pitchFamily="34" charset="0"/>
        <a:buChar char="•"/>
        <a:defRPr sz="5600" kern="1200">
          <a:solidFill>
            <a:srgbClr val="FFFFFF"/>
          </a:solidFill>
          <a:latin typeface="+mn-lt"/>
          <a:ea typeface="+mn-ea"/>
          <a:cs typeface="+mn-cs"/>
        </a:defRPr>
      </a:lvl1pPr>
      <a:lvl2pPr marL="137153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800" kern="1200">
          <a:solidFill>
            <a:srgbClr val="FFFFFF"/>
          </a:solidFill>
          <a:latin typeface="+mn-lt"/>
          <a:ea typeface="+mn-ea"/>
          <a:cs typeface="+mn-cs"/>
        </a:defRPr>
      </a:lvl2pPr>
      <a:lvl3pPr marL="2285886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4000" kern="1200">
          <a:solidFill>
            <a:srgbClr val="FFFFFF"/>
          </a:solidFill>
          <a:latin typeface="+mn-lt"/>
          <a:ea typeface="+mn-ea"/>
          <a:cs typeface="+mn-cs"/>
        </a:defRPr>
      </a:lvl3pPr>
      <a:lvl4pPr marL="3200240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rgbClr val="FFFFFF"/>
          </a:solidFill>
          <a:latin typeface="+mn-lt"/>
          <a:ea typeface="+mn-ea"/>
          <a:cs typeface="+mn-cs"/>
        </a:defRPr>
      </a:lvl4pPr>
      <a:lvl5pPr marL="4114594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rgbClr val="FFFFFF"/>
          </a:solidFill>
          <a:latin typeface="+mn-lt"/>
          <a:ea typeface="+mn-ea"/>
          <a:cs typeface="+mn-cs"/>
        </a:defRPr>
      </a:lvl5pPr>
      <a:lvl6pPr marL="5028949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943303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857657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772011" indent="-457177" algn="l" defTabSz="1828709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NO"/>
      </a:defPPr>
      <a:lvl1pPr marL="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1pPr>
      <a:lvl2pPr marL="91435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2pPr>
      <a:lvl3pPr marL="1828709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3pPr>
      <a:lvl4pPr marL="2743063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4pPr>
      <a:lvl5pPr marL="3657417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5pPr>
      <a:lvl6pPr marL="4571771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6pPr>
      <a:lvl7pPr marL="5486126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7pPr>
      <a:lvl8pPr marL="6400480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8pPr>
      <a:lvl9pPr marL="7314834" algn="l" defTabSz="1828709" rtl="0" eaLnBrk="1" latinLnBrk="0" hangingPunct="1">
        <a:defRPr sz="3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jpg"/><Relationship Id="rId1" Type="http://schemas.openxmlformats.org/officeDocument/2006/relationships/slideLayout" Target="../slideLayouts/slideLayout18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7.jpg"/><Relationship Id="rId1" Type="http://schemas.openxmlformats.org/officeDocument/2006/relationships/slideLayout" Target="../slideLayouts/slideLayout1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3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6.jpg"/><Relationship Id="rId1" Type="http://schemas.openxmlformats.org/officeDocument/2006/relationships/slideLayout" Target="../slideLayouts/slideLayout1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7.jpg"/><Relationship Id="rId1" Type="http://schemas.openxmlformats.org/officeDocument/2006/relationships/slideLayout" Target="../slideLayouts/slideLayout18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8.jpg"/><Relationship Id="rId1" Type="http://schemas.openxmlformats.org/officeDocument/2006/relationships/slideLayout" Target="../slideLayouts/slideLayout5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png"/><Relationship Id="rId13" Type="http://schemas.openxmlformats.org/officeDocument/2006/relationships/image" Target="../media/image70.png"/><Relationship Id="rId3" Type="http://schemas.openxmlformats.org/officeDocument/2006/relationships/image" Target="../media/image60.jpeg"/><Relationship Id="rId7" Type="http://schemas.openxmlformats.org/officeDocument/2006/relationships/image" Target="../media/image64.jpeg"/><Relationship Id="rId12" Type="http://schemas.openxmlformats.org/officeDocument/2006/relationships/image" Target="../media/image69.png"/><Relationship Id="rId17" Type="http://schemas.openxmlformats.org/officeDocument/2006/relationships/image" Target="../media/image74.png"/><Relationship Id="rId2" Type="http://schemas.openxmlformats.org/officeDocument/2006/relationships/image" Target="../media/image59.jpeg"/><Relationship Id="rId16" Type="http://schemas.openxmlformats.org/officeDocument/2006/relationships/image" Target="../media/image73.png"/><Relationship Id="rId1" Type="http://schemas.openxmlformats.org/officeDocument/2006/relationships/slideLayout" Target="../slideLayouts/slideLayout51.xml"/><Relationship Id="rId6" Type="http://schemas.openxmlformats.org/officeDocument/2006/relationships/image" Target="../media/image63.jpeg"/><Relationship Id="rId11" Type="http://schemas.openxmlformats.org/officeDocument/2006/relationships/image" Target="../media/image68.png"/><Relationship Id="rId5" Type="http://schemas.openxmlformats.org/officeDocument/2006/relationships/image" Target="../media/image62.jpg"/><Relationship Id="rId15" Type="http://schemas.openxmlformats.org/officeDocument/2006/relationships/image" Target="../media/image72.png"/><Relationship Id="rId10" Type="http://schemas.openxmlformats.org/officeDocument/2006/relationships/image" Target="../media/image67.jpeg"/><Relationship Id="rId4" Type="http://schemas.openxmlformats.org/officeDocument/2006/relationships/image" Target="../media/image61.jpg"/><Relationship Id="rId9" Type="http://schemas.openxmlformats.org/officeDocument/2006/relationships/image" Target="../media/image66.png"/><Relationship Id="rId14" Type="http://schemas.openxmlformats.org/officeDocument/2006/relationships/image" Target="../media/image71.png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5.jpg"/><Relationship Id="rId1" Type="http://schemas.openxmlformats.org/officeDocument/2006/relationships/slideLayout" Target="../slideLayouts/slideLayout5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6.jpg"/><Relationship Id="rId1" Type="http://schemas.openxmlformats.org/officeDocument/2006/relationships/slideLayout" Target="../slideLayouts/slideLayout5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kstSylinder 2">
            <a:extLst>
              <a:ext uri="{FF2B5EF4-FFF2-40B4-BE49-F238E27FC236}">
                <a16:creationId xmlns:a16="http://schemas.microsoft.com/office/drawing/2014/main" id="{7B0CA25F-4B48-D54E-A339-D2318319A6B7}"/>
              </a:ext>
            </a:extLst>
          </p:cNvPr>
          <p:cNvSpPr txBox="1"/>
          <p:nvPr/>
        </p:nvSpPr>
        <p:spPr>
          <a:xfrm>
            <a:off x="1" y="5226890"/>
            <a:ext cx="12191206" cy="50783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1828709"/>
            <a:r>
              <a:rPr lang="nb-NO" sz="7200" b="1" dirty="0" smtClean="0">
                <a:solidFill>
                  <a:srgbClr val="A0D2B3"/>
                </a:solidFill>
                <a:latin typeface="Arial" panose="020B0604020202020204"/>
              </a:rPr>
              <a:t>Nedre Romerike Legevakt</a:t>
            </a:r>
          </a:p>
          <a:p>
            <a:pPr algn="ctr" defTabSz="1828709"/>
            <a:endParaRPr lang="nb-NO" sz="7200" b="1" dirty="0">
              <a:solidFill>
                <a:srgbClr val="A0D2B3"/>
              </a:solidFill>
              <a:latin typeface="Arial" panose="020B0604020202020204"/>
            </a:endParaRPr>
          </a:p>
          <a:p>
            <a:pPr algn="ctr" defTabSz="1828709"/>
            <a:r>
              <a:rPr lang="nb-NO" sz="6000" b="1" dirty="0" smtClean="0">
                <a:solidFill>
                  <a:srgbClr val="A0D2B3"/>
                </a:solidFill>
                <a:latin typeface="Arial" panose="020B0604020202020204"/>
              </a:rPr>
              <a:t>Erfaring med </a:t>
            </a:r>
            <a:r>
              <a:rPr lang="nb-NO" sz="6000" b="1" dirty="0" err="1" smtClean="0">
                <a:solidFill>
                  <a:srgbClr val="A0D2B3"/>
                </a:solidFill>
                <a:latin typeface="Arial" panose="020B0604020202020204"/>
              </a:rPr>
              <a:t>legevaktsbil</a:t>
            </a:r>
            <a:endParaRPr lang="nb-NO" sz="6000" b="1" dirty="0" smtClean="0">
              <a:solidFill>
                <a:srgbClr val="A0D2B3"/>
              </a:solidFill>
              <a:latin typeface="Arial" panose="020B0604020202020204"/>
            </a:endParaRPr>
          </a:p>
          <a:p>
            <a:pPr algn="ctr" defTabSz="1828709"/>
            <a:endParaRPr lang="nb-NO" sz="8000" b="1" dirty="0" smtClean="0">
              <a:solidFill>
                <a:srgbClr val="A0D2B3"/>
              </a:solidFill>
              <a:latin typeface="Arial" panose="020B0604020202020204"/>
            </a:endParaRPr>
          </a:p>
          <a:p>
            <a:pPr algn="ctr" defTabSz="1828709"/>
            <a:r>
              <a:rPr lang="nb-NO" sz="4000" b="1" dirty="0" smtClean="0">
                <a:solidFill>
                  <a:srgbClr val="FFFFFF"/>
                </a:solidFill>
                <a:latin typeface="Arial" panose="020B0604020202020204"/>
              </a:rPr>
              <a:t>Tonje Lorem - avdelingsleder</a:t>
            </a:r>
          </a:p>
        </p:txBody>
      </p:sp>
      <p:pic>
        <p:nvPicPr>
          <p:cNvPr id="10" name="Plassholder for bilde 9"/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220756038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t="-25000" b="-25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Takk for oppmerksomheten</a:t>
            </a:r>
          </a:p>
        </p:txBody>
      </p:sp>
    </p:spTree>
    <p:extLst>
      <p:ext uri="{BB962C8B-B14F-4D97-AF65-F5344CB8AC3E}">
        <p14:creationId xmlns:p14="http://schemas.microsoft.com/office/powerpoint/2010/main" val="10743293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FE09031-EBE6-4DEE-AD0C-10BC7B1EDF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7021" y="730650"/>
            <a:ext cx="20449101" cy="2650953"/>
          </a:xfrm>
        </p:spPr>
        <p:txBody>
          <a:bodyPr/>
          <a:lstStyle/>
          <a:p>
            <a:r>
              <a:rPr lang="nb-NO" dirty="0">
                <a:cs typeface="Calibri Light"/>
              </a:rPr>
              <a:t>Legevaktsdistriktet</a:t>
            </a:r>
            <a:endParaRPr lang="nb-NO" dirty="0"/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1DA6F7B-27FB-48DE-BA24-2A302CB91D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257018" y="2667273"/>
            <a:ext cx="20449103" cy="8702109"/>
          </a:xfrm>
        </p:spPr>
        <p:txBody>
          <a:bodyPr vert="horz" lIns="182868" tIns="91434" rIns="182868" bIns="91434" rtlCol="0" anchor="t">
            <a:normAutofit/>
          </a:bodyPr>
          <a:lstStyle/>
          <a:p>
            <a:pPr marL="914354" lvl="1" indent="0">
              <a:buNone/>
            </a:pPr>
            <a:r>
              <a:rPr lang="en-US"/>
              <a:t/>
            </a:r>
            <a:br>
              <a:rPr lang="en-US"/>
            </a:br>
            <a:endParaRPr lang="en-US">
              <a:cs typeface="Calibri" panose="020F0502020204030204"/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56847676-ADAC-43FB-98D0-D27562ABA4DF}"/>
              </a:ext>
            </a:extLst>
          </p:cNvPr>
          <p:cNvSpPr txBox="1"/>
          <p:nvPr/>
        </p:nvSpPr>
        <p:spPr>
          <a:xfrm>
            <a:off x="919351" y="3985156"/>
            <a:ext cx="10992255" cy="56323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b-NO" sz="7200" dirty="0"/>
              <a:t>Populasjon </a:t>
            </a:r>
            <a:r>
              <a:rPr lang="nb-NO" sz="7200" dirty="0" err="1"/>
              <a:t>ca</a:t>
            </a:r>
            <a:r>
              <a:rPr lang="nb-NO" sz="7200" dirty="0"/>
              <a:t> 160.000</a:t>
            </a:r>
          </a:p>
          <a:p>
            <a:r>
              <a:rPr lang="nb-NO" sz="7200" dirty="0" smtClean="0"/>
              <a:t>	Lillestrøm</a:t>
            </a:r>
            <a:endParaRPr lang="nb-NO" sz="7200" dirty="0"/>
          </a:p>
          <a:p>
            <a:r>
              <a:rPr lang="nb-NO" sz="7200" dirty="0" smtClean="0"/>
              <a:t>	Lørenskog</a:t>
            </a:r>
            <a:endParaRPr lang="nb-NO" sz="7200" dirty="0"/>
          </a:p>
          <a:p>
            <a:r>
              <a:rPr lang="nb-NO" sz="7200" dirty="0" smtClean="0"/>
              <a:t>	Rælingen</a:t>
            </a:r>
            <a:endParaRPr lang="nb-NO" sz="7200" dirty="0"/>
          </a:p>
          <a:p>
            <a:r>
              <a:rPr lang="nb-NO" sz="7200" dirty="0" smtClean="0"/>
              <a:t>	Enebakk </a:t>
            </a:r>
            <a:r>
              <a:rPr lang="nb-NO" sz="7200" dirty="0"/>
              <a:t>(Flateby)</a:t>
            </a:r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153207" y="-1346663"/>
            <a:ext cx="12794471" cy="18093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439182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ctrTitle"/>
          </p:nvPr>
        </p:nvSpPr>
        <p:spPr>
          <a:xfrm>
            <a:off x="1178118" y="2050514"/>
            <a:ext cx="15379200" cy="2423527"/>
          </a:xfrm>
        </p:spPr>
        <p:txBody>
          <a:bodyPr/>
          <a:lstStyle/>
          <a:p>
            <a:r>
              <a:rPr lang="nb-NO" dirty="0" smtClean="0"/>
              <a:t>Organisering</a:t>
            </a:r>
            <a:endParaRPr lang="nb-NO" dirty="0"/>
          </a:p>
        </p:txBody>
      </p:sp>
      <p:sp>
        <p:nvSpPr>
          <p:cNvPr id="6" name="TekstSylinder 5"/>
          <p:cNvSpPr txBox="1"/>
          <p:nvPr/>
        </p:nvSpPr>
        <p:spPr>
          <a:xfrm>
            <a:off x="1178118" y="3262277"/>
            <a:ext cx="6338595" cy="55092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4400" dirty="0" smtClean="0">
                <a:solidFill>
                  <a:schemeClr val="bg1"/>
                </a:solidFill>
              </a:rPr>
              <a:t>Oppstart 1. februar 2017</a:t>
            </a:r>
          </a:p>
          <a:p>
            <a:r>
              <a:rPr lang="nb-NO" sz="4400" dirty="0" smtClean="0">
                <a:solidFill>
                  <a:schemeClr val="bg1"/>
                </a:solidFill>
              </a:rPr>
              <a:t>I </a:t>
            </a:r>
            <a:r>
              <a:rPr lang="nb-NO" sz="4400" dirty="0">
                <a:solidFill>
                  <a:schemeClr val="bg1"/>
                </a:solidFill>
              </a:rPr>
              <a:t>drift hele døgnet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nb-NO" sz="4400" dirty="0" smtClean="0">
                <a:solidFill>
                  <a:schemeClr val="bg1"/>
                </a:solidFill>
              </a:rPr>
              <a:t>2 dag/kveld</a:t>
            </a:r>
          </a:p>
          <a:p>
            <a:pPr marL="1028700" lvl="1" indent="-571500">
              <a:buFont typeface="Arial" panose="020B0604020202020204" pitchFamily="34" charset="0"/>
              <a:buChar char="•"/>
            </a:pPr>
            <a:r>
              <a:rPr lang="nb-NO" sz="4400" dirty="0" smtClean="0">
                <a:solidFill>
                  <a:schemeClr val="bg1"/>
                </a:solidFill>
              </a:rPr>
              <a:t>1 natt</a:t>
            </a:r>
            <a:endParaRPr lang="nb-NO" sz="4400" dirty="0">
              <a:solidFill>
                <a:schemeClr val="bg1"/>
              </a:solidFill>
            </a:endParaRPr>
          </a:p>
          <a:p>
            <a:endParaRPr lang="nb-NO" sz="4400" dirty="0">
              <a:solidFill>
                <a:schemeClr val="bg1"/>
              </a:solidFill>
            </a:endParaRPr>
          </a:p>
          <a:p>
            <a:endParaRPr lang="nb-NO" sz="4400" dirty="0">
              <a:solidFill>
                <a:schemeClr val="bg1"/>
              </a:solidFill>
            </a:endParaRPr>
          </a:p>
          <a:p>
            <a:endParaRPr lang="nb-NO" sz="4400" dirty="0">
              <a:solidFill>
                <a:schemeClr val="bg1"/>
              </a:solidFill>
            </a:endParaRPr>
          </a:p>
          <a:p>
            <a:endParaRPr lang="nb-NO" sz="4400" dirty="0">
              <a:solidFill>
                <a:schemeClr val="bg1"/>
              </a:solidFill>
            </a:endParaRPr>
          </a:p>
        </p:txBody>
      </p:sp>
      <p:pic>
        <p:nvPicPr>
          <p:cNvPr id="9" name="Plassholder for bilde 8"/>
          <p:cNvPicPr>
            <a:picLocks noGrp="1" noChangeAspect="1"/>
          </p:cNvPicPr>
          <p:nvPr>
            <p:ph type="pic" sz="quarter" idx="10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187" b="7187"/>
          <a:stretch>
            <a:fillRect/>
          </a:stretch>
        </p:blipFill>
        <p:spPr/>
      </p:pic>
      <p:sp>
        <p:nvSpPr>
          <p:cNvPr id="7" name="TekstSylinder 6">
            <a:extLst>
              <a:ext uri="{FF2B5EF4-FFF2-40B4-BE49-F238E27FC236}">
                <a16:creationId xmlns:a16="http://schemas.microsoft.com/office/drawing/2014/main" id="{16752E52-9275-4A2E-990A-12E019E9EEE8}"/>
              </a:ext>
            </a:extLst>
          </p:cNvPr>
          <p:cNvSpPr txBox="1"/>
          <p:nvPr/>
        </p:nvSpPr>
        <p:spPr>
          <a:xfrm>
            <a:off x="10296728" y="3262277"/>
            <a:ext cx="12188756" cy="34778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nb-NO" sz="4400" dirty="0">
                <a:solidFill>
                  <a:schemeClr val="bg1"/>
                </a:solidFill>
              </a:rPr>
              <a:t>Bemanning: </a:t>
            </a:r>
          </a:p>
          <a:p>
            <a:r>
              <a:rPr lang="nb-NO" sz="4400" dirty="0">
                <a:solidFill>
                  <a:schemeClr val="bg1"/>
                </a:solidFill>
              </a:rPr>
              <a:t>Lege: </a:t>
            </a:r>
            <a:endParaRPr lang="nb-NO" sz="4400" dirty="0" smtClean="0">
              <a:solidFill>
                <a:schemeClr val="bg1"/>
              </a:solidFill>
            </a:endParaRPr>
          </a:p>
          <a:p>
            <a:r>
              <a:rPr lang="nb-NO" sz="4400" dirty="0" smtClean="0">
                <a:solidFill>
                  <a:schemeClr val="bg1"/>
                </a:solidFill>
              </a:rPr>
              <a:t>	Fast ansatt i 20-100% stilling</a:t>
            </a:r>
          </a:p>
          <a:p>
            <a:r>
              <a:rPr lang="nb-NO" sz="4400" dirty="0" smtClean="0">
                <a:solidFill>
                  <a:schemeClr val="bg1"/>
                </a:solidFill>
              </a:rPr>
              <a:t>	Spesialist </a:t>
            </a:r>
            <a:r>
              <a:rPr lang="nb-NO" sz="4400" dirty="0">
                <a:solidFill>
                  <a:schemeClr val="bg1"/>
                </a:solidFill>
              </a:rPr>
              <a:t>i allmennmedisin eller </a:t>
            </a:r>
            <a:r>
              <a:rPr lang="nb-NO" sz="4400" dirty="0" smtClean="0">
                <a:solidFill>
                  <a:schemeClr val="bg1"/>
                </a:solidFill>
              </a:rPr>
              <a:t>ALIS</a:t>
            </a:r>
          </a:p>
          <a:p>
            <a:r>
              <a:rPr lang="nb-NO" sz="4400" dirty="0" smtClean="0">
                <a:solidFill>
                  <a:schemeClr val="bg1"/>
                </a:solidFill>
              </a:rPr>
              <a:t>Sykepleier</a:t>
            </a:r>
            <a:r>
              <a:rPr lang="nb-NO" sz="4400" dirty="0">
                <a:solidFill>
                  <a:schemeClr val="bg1"/>
                </a:solidFill>
              </a:rPr>
              <a:t>: Lang erfaring fra legevakt</a:t>
            </a:r>
          </a:p>
        </p:txBody>
      </p:sp>
    </p:spTree>
    <p:extLst>
      <p:ext uri="{BB962C8B-B14F-4D97-AF65-F5344CB8AC3E}">
        <p14:creationId xmlns:p14="http://schemas.microsoft.com/office/powerpoint/2010/main" val="1511258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tel 1">
            <a:extLst>
              <a:ext uri="{FF2B5EF4-FFF2-40B4-BE49-F238E27FC236}">
                <a16:creationId xmlns:a16="http://schemas.microsoft.com/office/drawing/2014/main" id="{4BAFC653-6253-4F0D-AB51-B8458E05B495}"/>
              </a:ext>
            </a:extLst>
          </p:cNvPr>
          <p:cNvSpPr txBox="1">
            <a:spLocks/>
          </p:cNvSpPr>
          <p:nvPr/>
        </p:nvSpPr>
        <p:spPr>
          <a:xfrm>
            <a:off x="1050763" y="1863184"/>
            <a:ext cx="10225216" cy="1325563"/>
          </a:xfrm>
          <a:prstGeom prst="rect">
            <a:avLst/>
          </a:prstGeom>
        </p:spPr>
        <p:txBody>
          <a:bodyPr/>
          <a:lstStyle>
            <a:lvl1pPr algn="l" defTabSz="1828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000" b="1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/>
              <a:t>Organisering</a:t>
            </a:r>
          </a:p>
        </p:txBody>
      </p:sp>
      <p:sp>
        <p:nvSpPr>
          <p:cNvPr id="6" name="Plassholder for innhold 2">
            <a:extLst>
              <a:ext uri="{FF2B5EF4-FFF2-40B4-BE49-F238E27FC236}">
                <a16:creationId xmlns:a16="http://schemas.microsoft.com/office/drawing/2014/main" id="{E68FF575-AFC7-4B4C-A8B0-5F745AF8A154}"/>
              </a:ext>
            </a:extLst>
          </p:cNvPr>
          <p:cNvSpPr txBox="1">
            <a:spLocks/>
          </p:cNvSpPr>
          <p:nvPr/>
        </p:nvSpPr>
        <p:spPr>
          <a:xfrm>
            <a:off x="802003" y="3188747"/>
            <a:ext cx="10225215" cy="4883622"/>
          </a:xfrm>
          <a:prstGeom prst="rect">
            <a:avLst/>
          </a:prstGeom>
        </p:spPr>
        <p:txBody>
          <a:bodyPr>
            <a:normAutofit fontScale="25000" lnSpcReduction="20000"/>
          </a:bodyPr>
          <a:lstStyle>
            <a:lvl1pPr marL="457177" indent="-457177" algn="l" defTabSz="1828709" rtl="0" eaLnBrk="1" latinLnBrk="0" hangingPunct="1">
              <a:lnSpc>
                <a:spcPct val="90000"/>
              </a:lnSpc>
              <a:spcBef>
                <a:spcPts val="2000"/>
              </a:spcBef>
              <a:buFont typeface="Arial" panose="020B0604020202020204" pitchFamily="34" charset="0"/>
              <a:buChar char="•"/>
              <a:defRPr sz="56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1pPr>
            <a:lvl2pPr marL="137153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8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2pPr>
            <a:lvl3pPr marL="2285886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40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3pPr>
            <a:lvl4pPr marL="3200240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4pPr>
            <a:lvl5pPr marL="4114594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rgbClr val="FFFFFF"/>
                </a:solidFill>
                <a:latin typeface="+mn-lt"/>
                <a:ea typeface="+mn-ea"/>
                <a:cs typeface="+mn-cs"/>
              </a:defRPr>
            </a:lvl5pPr>
            <a:lvl6pPr marL="5028949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943303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6857657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7772011" indent="-457177" algn="l" defTabSz="1828709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nb-NO" sz="17600" dirty="0"/>
          </a:p>
          <a:p>
            <a:pPr>
              <a:lnSpc>
                <a:spcPct val="120000"/>
              </a:lnSpc>
            </a:pPr>
            <a:r>
              <a:rPr lang="nb-NO" sz="17600" dirty="0"/>
              <a:t>Ansatte kurses i:</a:t>
            </a:r>
          </a:p>
          <a:p>
            <a:pPr lvl="1">
              <a:lnSpc>
                <a:spcPct val="120000"/>
              </a:lnSpc>
            </a:pPr>
            <a:r>
              <a:rPr lang="nb-NO" sz="17600" dirty="0" smtClean="0"/>
              <a:t>Akuttmedisin</a:t>
            </a:r>
          </a:p>
          <a:p>
            <a:pPr lvl="1">
              <a:lnSpc>
                <a:spcPct val="120000"/>
              </a:lnSpc>
            </a:pPr>
            <a:r>
              <a:rPr lang="nb-NO" sz="17600" dirty="0" smtClean="0"/>
              <a:t>Nødnett – håndholdt radio</a:t>
            </a:r>
            <a:endParaRPr lang="nb-NO" sz="17600" dirty="0"/>
          </a:p>
          <a:p>
            <a:pPr lvl="1">
              <a:lnSpc>
                <a:spcPct val="120000"/>
              </a:lnSpc>
            </a:pPr>
            <a:r>
              <a:rPr lang="nb-NO" sz="17600" dirty="0"/>
              <a:t>Volds og overgrepshåndtering</a:t>
            </a:r>
          </a:p>
          <a:p>
            <a:pPr lvl="1">
              <a:lnSpc>
                <a:spcPct val="120000"/>
              </a:lnSpc>
            </a:pPr>
            <a:r>
              <a:rPr lang="nb-NO" sz="17600" dirty="0"/>
              <a:t>PLIVO</a:t>
            </a:r>
          </a:p>
          <a:p>
            <a:pPr lvl="1">
              <a:lnSpc>
                <a:spcPct val="120000"/>
              </a:lnSpc>
            </a:pPr>
            <a:r>
              <a:rPr lang="nb-NO" sz="17600" dirty="0" err="1"/>
              <a:t>Masseskadetriage</a:t>
            </a:r>
            <a:endParaRPr lang="nb-NO" sz="17600" dirty="0"/>
          </a:p>
          <a:p>
            <a:pPr lvl="1">
              <a:lnSpc>
                <a:spcPct val="120000"/>
              </a:lnSpc>
            </a:pPr>
            <a:r>
              <a:rPr lang="nb-NO" sz="17600" dirty="0"/>
              <a:t>Helsetjenestens organisering på skadested</a:t>
            </a:r>
          </a:p>
          <a:p>
            <a:pPr lvl="1">
              <a:lnSpc>
                <a:spcPct val="120000"/>
              </a:lnSpc>
            </a:pPr>
            <a:r>
              <a:rPr lang="nb-NO" sz="17600" dirty="0"/>
              <a:t>Prøvetaking og analyse</a:t>
            </a:r>
          </a:p>
          <a:p>
            <a:pPr>
              <a:lnSpc>
                <a:spcPct val="120000"/>
              </a:lnSpc>
            </a:pPr>
            <a:endParaRPr lang="nb-NO" dirty="0"/>
          </a:p>
        </p:txBody>
      </p:sp>
      <p:pic>
        <p:nvPicPr>
          <p:cNvPr id="3" name="Plassholder for bilde 2"/>
          <p:cNvPicPr>
            <a:picLocks noGrp="1" noChangeAspect="1"/>
          </p:cNvPicPr>
          <p:nvPr>
            <p:ph type="pic" sz="quarter" idx="12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0766761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kstSylinder 12">
            <a:extLst>
              <a:ext uri="{FF2B5EF4-FFF2-40B4-BE49-F238E27FC236}">
                <a16:creationId xmlns:a16="http://schemas.microsoft.com/office/drawing/2014/main" id="{42ADAAE9-F0E2-4681-9D21-4EFE0A4AB08F}"/>
              </a:ext>
            </a:extLst>
          </p:cNvPr>
          <p:cNvSpPr txBox="1"/>
          <p:nvPr/>
        </p:nvSpPr>
        <p:spPr>
          <a:xfrm>
            <a:off x="291830" y="2665379"/>
            <a:ext cx="13865367" cy="102489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 smtClean="0">
                <a:solidFill>
                  <a:srgbClr val="FCFEFD"/>
                </a:solidFill>
              </a:rPr>
              <a:t>PC med EPJ og nettilga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 smtClean="0">
                <a:solidFill>
                  <a:srgbClr val="FCFEFD"/>
                </a:solidFill>
              </a:rPr>
              <a:t>Legekoffert </a:t>
            </a:r>
            <a:r>
              <a:rPr lang="nb-NO" sz="4400" dirty="0">
                <a:solidFill>
                  <a:srgbClr val="FCFEFD"/>
                </a:solidFill>
              </a:rPr>
              <a:t>med et utvalg akuttmedisiner og antibiotik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rgbClr val="FCFEFD"/>
                </a:solidFill>
              </a:rPr>
              <a:t>Infusjo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rgbClr val="FCFEFD"/>
                </a:solidFill>
              </a:rPr>
              <a:t>Blodprøvetaking med analyse: CRP, </a:t>
            </a:r>
            <a:r>
              <a:rPr lang="nb-NO" sz="4400" dirty="0" err="1">
                <a:solidFill>
                  <a:srgbClr val="FCFEFD"/>
                </a:solidFill>
              </a:rPr>
              <a:t>Gluc</a:t>
            </a:r>
            <a:r>
              <a:rPr lang="nb-NO" sz="4400" dirty="0">
                <a:solidFill>
                  <a:srgbClr val="FCFEFD"/>
                </a:solidFill>
              </a:rPr>
              <a:t>, </a:t>
            </a:r>
            <a:r>
              <a:rPr lang="nb-NO" sz="4400" dirty="0" err="1">
                <a:solidFill>
                  <a:srgbClr val="FCFEFD"/>
                </a:solidFill>
              </a:rPr>
              <a:t>Hb</a:t>
            </a:r>
            <a:r>
              <a:rPr lang="nb-NO" sz="4400" dirty="0">
                <a:solidFill>
                  <a:srgbClr val="FCFEFD"/>
                </a:solidFill>
              </a:rPr>
              <a:t>, DDIM, arteriell blodgass, venøs blodgass, elektrolytter, </a:t>
            </a:r>
            <a:r>
              <a:rPr lang="nb-NO" sz="4400" dirty="0" err="1">
                <a:solidFill>
                  <a:srgbClr val="FCFEFD"/>
                </a:solidFill>
              </a:rPr>
              <a:t>Hct</a:t>
            </a:r>
            <a:r>
              <a:rPr lang="nb-NO" sz="4400" dirty="0">
                <a:solidFill>
                  <a:srgbClr val="FCFEFD"/>
                </a:solidFill>
              </a:rPr>
              <a:t>, </a:t>
            </a:r>
            <a:r>
              <a:rPr lang="nb-NO" sz="4400" dirty="0" err="1">
                <a:solidFill>
                  <a:srgbClr val="FCFEFD"/>
                </a:solidFill>
              </a:rPr>
              <a:t>Kreatinin</a:t>
            </a:r>
            <a:endParaRPr lang="nb-NO" sz="4400" dirty="0">
              <a:solidFill>
                <a:srgbClr val="FCFEFD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rgbClr val="FCFEFD"/>
                </a:solidFill>
              </a:rPr>
              <a:t>EKG </a:t>
            </a:r>
            <a:r>
              <a:rPr lang="nb-NO" sz="4400" dirty="0" smtClean="0">
                <a:solidFill>
                  <a:srgbClr val="FCFEFD"/>
                </a:solidFill>
              </a:rPr>
              <a:t>12-avleder</a:t>
            </a:r>
            <a:endParaRPr lang="nb-NO" sz="4400" dirty="0">
              <a:solidFill>
                <a:srgbClr val="FCFEFD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rgbClr val="FCFEFD"/>
                </a:solidFill>
              </a:rPr>
              <a:t>Ultraly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rgbClr val="FCFEFD"/>
                </a:solidFill>
              </a:rPr>
              <a:t>Overvåkningsmonito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rgbClr val="FCFEFD"/>
                </a:solidFill>
              </a:rPr>
              <a:t>Temperaturmål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rgbClr val="FCFEFD"/>
                </a:solidFill>
              </a:rPr>
              <a:t>Oksyg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 smtClean="0">
                <a:solidFill>
                  <a:srgbClr val="FCFEFD"/>
                </a:solidFill>
              </a:rPr>
              <a:t>Hjertestarter</a:t>
            </a:r>
            <a:endParaRPr lang="nb-NO" sz="4400" dirty="0">
              <a:solidFill>
                <a:srgbClr val="FCFEFD"/>
              </a:solidFill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rgbClr val="FCFEFD"/>
                </a:solidFill>
              </a:rPr>
              <a:t>Kateteris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 err="1">
                <a:solidFill>
                  <a:srgbClr val="FCFEFD"/>
                </a:solidFill>
              </a:rPr>
              <a:t>Suturering</a:t>
            </a:r>
            <a:endParaRPr lang="nb-NO" sz="4400" dirty="0">
              <a:solidFill>
                <a:srgbClr val="FCFEFD"/>
              </a:solidFill>
            </a:endParaRPr>
          </a:p>
        </p:txBody>
      </p:sp>
      <p:sp>
        <p:nvSpPr>
          <p:cNvPr id="14" name="Tittel 1">
            <a:extLst>
              <a:ext uri="{FF2B5EF4-FFF2-40B4-BE49-F238E27FC236}">
                <a16:creationId xmlns:a16="http://schemas.microsoft.com/office/drawing/2014/main" id="{435AC14F-67AA-40DC-B467-CA81132956CD}"/>
              </a:ext>
            </a:extLst>
          </p:cNvPr>
          <p:cNvSpPr txBox="1">
            <a:spLocks/>
          </p:cNvSpPr>
          <p:nvPr/>
        </p:nvSpPr>
        <p:spPr>
          <a:xfrm>
            <a:off x="1128584" y="1533308"/>
            <a:ext cx="10225216" cy="1325563"/>
          </a:xfrm>
          <a:prstGeom prst="rect">
            <a:avLst/>
          </a:prstGeom>
        </p:spPr>
        <p:txBody>
          <a:bodyPr/>
          <a:lstStyle>
            <a:lvl1pPr algn="l" defTabSz="1828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000" b="1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/>
              <a:t>Utstyr</a:t>
            </a:r>
            <a:endParaRPr lang="nb-NO" dirty="0"/>
          </a:p>
        </p:txBody>
      </p:sp>
      <p:pic>
        <p:nvPicPr>
          <p:cNvPr id="2" name="Bilde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982008" y="0"/>
            <a:ext cx="10400406" cy="138672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4521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tel 1">
            <a:extLst>
              <a:ext uri="{FF2B5EF4-FFF2-40B4-BE49-F238E27FC236}">
                <a16:creationId xmlns:a16="http://schemas.microsoft.com/office/drawing/2014/main" id="{8FE09031-EBE6-4DEE-AD0C-10BC7B1EDF7F}"/>
              </a:ext>
            </a:extLst>
          </p:cNvPr>
          <p:cNvSpPr txBox="1">
            <a:spLocks/>
          </p:cNvSpPr>
          <p:nvPr/>
        </p:nvSpPr>
        <p:spPr>
          <a:xfrm>
            <a:off x="2345715" y="1212071"/>
            <a:ext cx="20449101" cy="2650953"/>
          </a:xfrm>
          <a:prstGeom prst="rect">
            <a:avLst/>
          </a:prstGeom>
        </p:spPr>
        <p:txBody>
          <a:bodyPr/>
          <a:lstStyle>
            <a:lvl1pPr algn="l" defTabSz="1828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000" b="1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dirty="0" smtClean="0"/>
              <a:t>Samhandling</a:t>
            </a:r>
            <a:endParaRPr lang="nb-NO" dirty="0"/>
          </a:p>
        </p:txBody>
      </p:sp>
      <p:pic>
        <p:nvPicPr>
          <p:cNvPr id="4" name="Plassholder for innhold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9935" y="2948800"/>
            <a:ext cx="4287517" cy="1353448"/>
          </a:xfrm>
          <a:prstGeom prst="rect">
            <a:avLst/>
          </a:prstGeom>
        </p:spPr>
      </p:pic>
      <p:pic>
        <p:nvPicPr>
          <p:cNvPr id="5" name="Bild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19053" y="6436567"/>
            <a:ext cx="4525037" cy="1610393"/>
          </a:xfrm>
          <a:prstGeom prst="rect">
            <a:avLst/>
          </a:prstGeom>
        </p:spPr>
      </p:pic>
      <p:pic>
        <p:nvPicPr>
          <p:cNvPr id="6" name="Bilde 5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38054" y="5920965"/>
            <a:ext cx="2424290" cy="1564058"/>
          </a:xfrm>
          <a:prstGeom prst="rect">
            <a:avLst/>
          </a:prstGeom>
        </p:spPr>
      </p:pic>
      <p:pic>
        <p:nvPicPr>
          <p:cNvPr id="7" name="Bilde 6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220078" y="2596069"/>
            <a:ext cx="6731162" cy="2259709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993553" y="7485023"/>
            <a:ext cx="6096437" cy="3753120"/>
          </a:xfrm>
          <a:prstGeom prst="rect">
            <a:avLst/>
          </a:prstGeom>
        </p:spPr>
      </p:pic>
      <p:cxnSp>
        <p:nvCxnSpPr>
          <p:cNvPr id="9" name="Rett pil 18"/>
          <p:cNvCxnSpPr/>
          <p:nvPr/>
        </p:nvCxnSpPr>
        <p:spPr>
          <a:xfrm>
            <a:off x="7271535" y="4512967"/>
            <a:ext cx="3997094" cy="1923599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Rett pil 20"/>
          <p:cNvCxnSpPr/>
          <p:nvPr/>
        </p:nvCxnSpPr>
        <p:spPr>
          <a:xfrm>
            <a:off x="5584891" y="6858000"/>
            <a:ext cx="4382245" cy="582126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pil 22"/>
          <p:cNvCxnSpPr/>
          <p:nvPr/>
        </p:nvCxnSpPr>
        <p:spPr>
          <a:xfrm>
            <a:off x="14612972" y="8046960"/>
            <a:ext cx="3640887" cy="1314624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Rett pil 24"/>
          <p:cNvCxnSpPr/>
          <p:nvPr/>
        </p:nvCxnSpPr>
        <p:spPr>
          <a:xfrm flipV="1">
            <a:off x="14744091" y="4855779"/>
            <a:ext cx="2340074" cy="1580787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Bilde 12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24235" y="10199441"/>
            <a:ext cx="2877979" cy="2877979"/>
          </a:xfrm>
          <a:prstGeom prst="rect">
            <a:avLst/>
          </a:prstGeom>
        </p:spPr>
      </p:pic>
      <p:cxnSp>
        <p:nvCxnSpPr>
          <p:cNvPr id="14" name="Rett pil 28"/>
          <p:cNvCxnSpPr/>
          <p:nvPr/>
        </p:nvCxnSpPr>
        <p:spPr>
          <a:xfrm>
            <a:off x="11963223" y="8270698"/>
            <a:ext cx="0" cy="17627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5" name="Bilde 14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2671" y="4935161"/>
            <a:ext cx="1202634" cy="1002194"/>
          </a:xfrm>
          <a:prstGeom prst="rect">
            <a:avLst/>
          </a:prstGeom>
        </p:spPr>
      </p:pic>
      <p:pic>
        <p:nvPicPr>
          <p:cNvPr id="16" name="Bilde 15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352405" y="5071033"/>
            <a:ext cx="1325130" cy="1099367"/>
          </a:xfrm>
          <a:prstGeom prst="rect">
            <a:avLst/>
          </a:prstGeom>
        </p:spPr>
      </p:pic>
      <p:pic>
        <p:nvPicPr>
          <p:cNvPr id="17" name="Bilde 16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656754" y="8108718"/>
            <a:ext cx="1165170" cy="966659"/>
          </a:xfrm>
          <a:prstGeom prst="rect">
            <a:avLst/>
          </a:prstGeom>
        </p:spPr>
      </p:pic>
      <p:pic>
        <p:nvPicPr>
          <p:cNvPr id="18" name="Bilde 17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24241" y="6436564"/>
            <a:ext cx="1909476" cy="1433133"/>
          </a:xfrm>
          <a:prstGeom prst="rect">
            <a:avLst/>
          </a:prstGeom>
        </p:spPr>
      </p:pic>
      <p:pic>
        <p:nvPicPr>
          <p:cNvPr id="19" name="Bilde 18" descr="Et bilde som inneholder linjetegning&#10;&#10;Automatisk generert beskrivelse">
            <a:extLst>
              <a:ext uri="{FF2B5EF4-FFF2-40B4-BE49-F238E27FC236}">
                <a16:creationId xmlns:a16="http://schemas.microsoft.com/office/drawing/2014/main" id="{0F44742A-2F45-4079-8D09-4C4F1A530D5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2001" y="9901041"/>
            <a:ext cx="1887520" cy="2191639"/>
          </a:xfrm>
          <a:prstGeom prst="rect">
            <a:avLst/>
          </a:prstGeom>
        </p:spPr>
      </p:pic>
      <p:cxnSp>
        <p:nvCxnSpPr>
          <p:cNvPr id="20" name="Rett pil 20">
            <a:extLst>
              <a:ext uri="{FF2B5EF4-FFF2-40B4-BE49-F238E27FC236}">
                <a16:creationId xmlns:a16="http://schemas.microsoft.com/office/drawing/2014/main" id="{588B8015-D449-42FC-B928-B660D866B40A}"/>
              </a:ext>
            </a:extLst>
          </p:cNvPr>
          <p:cNvCxnSpPr>
            <a:cxnSpLocks/>
          </p:cNvCxnSpPr>
          <p:nvPr/>
        </p:nvCxnSpPr>
        <p:spPr>
          <a:xfrm flipV="1">
            <a:off x="6071959" y="8485285"/>
            <a:ext cx="3929692" cy="1997621"/>
          </a:xfrm>
          <a:prstGeom prst="straightConnector1">
            <a:avLst/>
          </a:prstGeom>
          <a:ln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1" name="Bilde 20">
            <a:extLst>
              <a:ext uri="{FF2B5EF4-FFF2-40B4-BE49-F238E27FC236}">
                <a16:creationId xmlns:a16="http://schemas.microsoft.com/office/drawing/2014/main" id="{7C8A4FC5-497B-4D1A-8701-640E43C6F2D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544588" y="8965936"/>
            <a:ext cx="1232253" cy="1029942"/>
          </a:xfrm>
          <a:prstGeom prst="rect">
            <a:avLst/>
          </a:prstGeom>
        </p:spPr>
      </p:pic>
      <p:pic>
        <p:nvPicPr>
          <p:cNvPr id="22" name="Bilde 21" descr="Et bilde som inneholder tekst, person, holder, elektronikk&#10;&#10;Automatisk generert beskrivelse">
            <a:extLst>
              <a:ext uri="{FF2B5EF4-FFF2-40B4-BE49-F238E27FC236}">
                <a16:creationId xmlns:a16="http://schemas.microsoft.com/office/drawing/2014/main" id="{E7344F36-1050-427F-80CB-F1B471B7297E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436381" y="8599443"/>
            <a:ext cx="1133885" cy="917187"/>
          </a:xfrm>
          <a:prstGeom prst="rect">
            <a:avLst/>
          </a:prstGeom>
        </p:spPr>
      </p:pic>
      <p:pic>
        <p:nvPicPr>
          <p:cNvPr id="23" name="Bilde 22">
            <a:extLst>
              <a:ext uri="{FF2B5EF4-FFF2-40B4-BE49-F238E27FC236}">
                <a16:creationId xmlns:a16="http://schemas.microsoft.com/office/drawing/2014/main" id="{D101B4B4-8B49-49C5-9E21-F8FB22CCDDFB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4310059" y="10611278"/>
            <a:ext cx="3088996" cy="2054303"/>
          </a:xfrm>
          <a:prstGeom prst="rect">
            <a:avLst/>
          </a:prstGeom>
        </p:spPr>
      </p:pic>
      <p:cxnSp>
        <p:nvCxnSpPr>
          <p:cNvPr id="24" name="Rett pil 22">
            <a:extLst>
              <a:ext uri="{FF2B5EF4-FFF2-40B4-BE49-F238E27FC236}">
                <a16:creationId xmlns:a16="http://schemas.microsoft.com/office/drawing/2014/main" id="{70DCAC1E-1888-4EFD-9670-3109FEDBF4DC}"/>
              </a:ext>
            </a:extLst>
          </p:cNvPr>
          <p:cNvCxnSpPr>
            <a:cxnSpLocks/>
          </p:cNvCxnSpPr>
          <p:nvPr/>
        </p:nvCxnSpPr>
        <p:spPr>
          <a:xfrm>
            <a:off x="13301100" y="8270698"/>
            <a:ext cx="2518629" cy="20869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Bilde 24">
            <a:extLst>
              <a:ext uri="{FF2B5EF4-FFF2-40B4-BE49-F238E27FC236}">
                <a16:creationId xmlns:a16="http://schemas.microsoft.com/office/drawing/2014/main" id="{28C9C791-241D-4F1C-9D43-8CC887C43446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13848884" y="8903179"/>
            <a:ext cx="1165170" cy="966659"/>
          </a:xfrm>
          <a:prstGeom prst="rect">
            <a:avLst/>
          </a:prstGeom>
        </p:spPr>
      </p:pic>
      <p:pic>
        <p:nvPicPr>
          <p:cNvPr id="2" name="Bilde 1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271535" y="10783174"/>
            <a:ext cx="2835315" cy="1489782"/>
          </a:xfrm>
          <a:prstGeom prst="rect">
            <a:avLst/>
          </a:prstGeom>
        </p:spPr>
      </p:pic>
      <p:cxnSp>
        <p:nvCxnSpPr>
          <p:cNvPr id="26" name="Rett pil 28"/>
          <p:cNvCxnSpPr/>
          <p:nvPr/>
        </p:nvCxnSpPr>
        <p:spPr>
          <a:xfrm>
            <a:off x="11963224" y="8270698"/>
            <a:ext cx="0" cy="1762781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Rett pil 28"/>
          <p:cNvCxnSpPr/>
          <p:nvPr/>
        </p:nvCxnSpPr>
        <p:spPr>
          <a:xfrm flipH="1">
            <a:off x="9270082" y="8270698"/>
            <a:ext cx="944639" cy="2086960"/>
          </a:xfrm>
          <a:prstGeom prst="straightConnector1">
            <a:avLst/>
          </a:prstGeom>
          <a:ln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0" name="Bilde 29"/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352027" y="9023667"/>
            <a:ext cx="1133954" cy="9144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94010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kstSylinder 8">
            <a:extLst>
              <a:ext uri="{FF2B5EF4-FFF2-40B4-BE49-F238E27FC236}">
                <a16:creationId xmlns:a16="http://schemas.microsoft.com/office/drawing/2014/main" id="{47519B87-0E8F-4D9D-BFA5-69516ACBC949}"/>
              </a:ext>
            </a:extLst>
          </p:cNvPr>
          <p:cNvSpPr txBox="1"/>
          <p:nvPr/>
        </p:nvSpPr>
        <p:spPr>
          <a:xfrm>
            <a:off x="1225685" y="3618690"/>
            <a:ext cx="8229600" cy="68634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Kateterisering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Vurdering av skader etter fall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4400" dirty="0" err="1">
                <a:solidFill>
                  <a:schemeClr val="accent6">
                    <a:lumMod val="20000"/>
                    <a:lumOff val="80000"/>
                  </a:schemeClr>
                </a:solidFill>
              </a:rPr>
              <a:t>Suturering</a:t>
            </a: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 i hjemme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Respirasjonsbehandling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Vurdering av falltenden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Vurdering infeksjoner/sepsis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Vurdering nedsatt bevissthe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Psykiatrivurdering i hjemmet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Vurderinger i arresten</a:t>
            </a:r>
          </a:p>
          <a:p>
            <a:pPr marL="571500" indent="-57150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Kramper</a:t>
            </a:r>
          </a:p>
        </p:txBody>
      </p:sp>
      <p:sp>
        <p:nvSpPr>
          <p:cNvPr id="13" name="TekstSylinder 12">
            <a:extLst>
              <a:ext uri="{FF2B5EF4-FFF2-40B4-BE49-F238E27FC236}">
                <a16:creationId xmlns:a16="http://schemas.microsoft.com/office/drawing/2014/main" id="{BC6010E7-6DF1-4F6A-A955-E8F1ABD64A45}"/>
              </a:ext>
            </a:extLst>
          </p:cNvPr>
          <p:cNvSpPr txBox="1"/>
          <p:nvPr/>
        </p:nvSpPr>
        <p:spPr>
          <a:xfrm>
            <a:off x="11245174" y="3618690"/>
            <a:ext cx="12295762" cy="68634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Syning av mo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Knivstikk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Brann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Fødse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Væpnet aksjon/PLIVO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Hjertestan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Trafikkulykk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Smertelindring/mobilisering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Oppfølging av terminalpleie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44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Akutt forverring av kronisk sykdom</a:t>
            </a:r>
          </a:p>
        </p:txBody>
      </p:sp>
      <p:sp>
        <p:nvSpPr>
          <p:cNvPr id="16" name="Tittel 1">
            <a:extLst>
              <a:ext uri="{FF2B5EF4-FFF2-40B4-BE49-F238E27FC236}">
                <a16:creationId xmlns:a16="http://schemas.microsoft.com/office/drawing/2014/main" id="{041F354A-0E7C-45D4-BEE6-6C8C940EC348}"/>
              </a:ext>
            </a:extLst>
          </p:cNvPr>
          <p:cNvSpPr txBox="1">
            <a:spLocks/>
          </p:cNvSpPr>
          <p:nvPr/>
        </p:nvSpPr>
        <p:spPr>
          <a:xfrm>
            <a:off x="944655" y="1875416"/>
            <a:ext cx="15379200" cy="2423527"/>
          </a:xfrm>
          <a:prstGeom prst="rect">
            <a:avLst/>
          </a:prstGeom>
        </p:spPr>
        <p:txBody>
          <a:bodyPr/>
          <a:lstStyle>
            <a:lvl1pPr algn="l" defTabSz="1828709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7000" b="1" kern="1200">
                <a:solidFill>
                  <a:srgbClr val="FFFFFF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/>
              <a:t>Oppdrag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515609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FE09031-EBE6-4DEE-AD0C-10BC7B1EDF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7021" y="730650"/>
            <a:ext cx="20449101" cy="2650953"/>
          </a:xfrm>
        </p:spPr>
        <p:txBody>
          <a:bodyPr/>
          <a:lstStyle/>
          <a:p>
            <a:r>
              <a:rPr lang="nb-NO" dirty="0"/>
              <a:t>Oppdrag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1DA6F7B-27FB-48DE-BA24-2A302CB91D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978430" y="2610196"/>
            <a:ext cx="20727692" cy="9743373"/>
          </a:xfrm>
        </p:spPr>
        <p:txBody>
          <a:bodyPr>
            <a:normAutofit/>
          </a:bodyPr>
          <a:lstStyle/>
          <a:p>
            <a:pPr marL="571471" indent="-571471"/>
            <a:r>
              <a:rPr lang="nb-NO" dirty="0"/>
              <a:t>Overkant av 4000 sykebesøk i året</a:t>
            </a:r>
          </a:p>
          <a:p>
            <a:pPr marL="571471" indent="-571471"/>
            <a:r>
              <a:rPr lang="nb-NO" dirty="0"/>
              <a:t>16 % på institusjon </a:t>
            </a:r>
          </a:p>
          <a:p>
            <a:pPr marL="1485826" lvl="1" indent="-571471"/>
            <a:r>
              <a:rPr lang="nb-NO" dirty="0"/>
              <a:t>Resterende i hjemmet eller på skadested</a:t>
            </a:r>
          </a:p>
          <a:p>
            <a:pPr marL="571471" indent="-571471"/>
            <a:r>
              <a:rPr lang="nb-NO" dirty="0"/>
              <a:t>25 % </a:t>
            </a:r>
            <a:r>
              <a:rPr lang="nb-NO" dirty="0" smtClean="0"/>
              <a:t>innleggelser</a:t>
            </a:r>
            <a:endParaRPr lang="nb-NO" dirty="0"/>
          </a:p>
          <a:p>
            <a:pPr marL="0" indent="0">
              <a:buNone/>
            </a:pPr>
            <a:r>
              <a:rPr lang="nb-NO" dirty="0"/>
              <a:t>Gevinst:</a:t>
            </a:r>
          </a:p>
        </p:txBody>
      </p:sp>
      <p:sp>
        <p:nvSpPr>
          <p:cNvPr id="5" name="Rektangel 4"/>
          <p:cNvSpPr/>
          <p:nvPr/>
        </p:nvSpPr>
        <p:spPr>
          <a:xfrm>
            <a:off x="2532022" y="7481882"/>
            <a:ext cx="12426766" cy="35394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71471" indent="-571471">
              <a:buFont typeface="Arial" panose="020B0604020202020204" pitchFamily="34" charset="0"/>
              <a:buChar char="•"/>
            </a:pPr>
            <a:r>
              <a:rPr lang="nb-NO" sz="56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Betydelig økning i antall sykebesøk</a:t>
            </a:r>
          </a:p>
          <a:p>
            <a:pPr marL="571471" indent="-571471">
              <a:buFont typeface="Arial" panose="020B0604020202020204" pitchFamily="34" charset="0"/>
              <a:buChar char="•"/>
            </a:pPr>
            <a:r>
              <a:rPr lang="nb-NO" sz="56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Færre </a:t>
            </a:r>
            <a:r>
              <a:rPr lang="nb-NO" sz="5600" dirty="0" smtClean="0">
                <a:solidFill>
                  <a:schemeClr val="accent6">
                    <a:lumMod val="20000"/>
                    <a:lumOff val="80000"/>
                  </a:schemeClr>
                </a:solidFill>
              </a:rPr>
              <a:t>innleggelser</a:t>
            </a:r>
          </a:p>
          <a:p>
            <a:pPr marL="571471" indent="-571471">
              <a:buFont typeface="Arial" panose="020B0604020202020204" pitchFamily="34" charset="0"/>
              <a:buChar char="•"/>
            </a:pPr>
            <a:r>
              <a:rPr lang="nb-NO" sz="56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F</a:t>
            </a:r>
            <a:r>
              <a:rPr lang="nb-NO" sz="5600" dirty="0" smtClean="0">
                <a:solidFill>
                  <a:schemeClr val="accent6">
                    <a:lumMod val="20000"/>
                    <a:lumOff val="80000"/>
                  </a:schemeClr>
                </a:solidFill>
              </a:rPr>
              <a:t>lere </a:t>
            </a:r>
            <a:r>
              <a:rPr lang="nb-NO" sz="5600" dirty="0">
                <a:solidFill>
                  <a:schemeClr val="accent6">
                    <a:lumMod val="20000"/>
                    <a:lumOff val="80000"/>
                  </a:schemeClr>
                </a:solidFill>
              </a:rPr>
              <a:t>behandles i hjemmet </a:t>
            </a:r>
            <a:endParaRPr lang="nb-NO" sz="5600" dirty="0" smtClean="0">
              <a:solidFill>
                <a:schemeClr val="accent6">
                  <a:lumMod val="20000"/>
                  <a:lumOff val="80000"/>
                </a:schemeClr>
              </a:solidFill>
            </a:endParaRPr>
          </a:p>
          <a:p>
            <a:pPr marL="571471" indent="-571471">
              <a:buFont typeface="Arial" panose="020B0604020202020204" pitchFamily="34" charset="0"/>
              <a:buChar char="•"/>
            </a:pPr>
            <a:r>
              <a:rPr lang="nb-NO" sz="5600" dirty="0" smtClean="0">
                <a:solidFill>
                  <a:schemeClr val="accent6">
                    <a:lumMod val="20000"/>
                    <a:lumOff val="80000"/>
                  </a:schemeClr>
                </a:solidFill>
              </a:rPr>
              <a:t>Avlaster legevaktstasjon</a:t>
            </a:r>
            <a:endParaRPr lang="nb-NO" sz="5600" dirty="0">
              <a:solidFill>
                <a:schemeClr val="accent6">
                  <a:lumMod val="20000"/>
                  <a:lumOff val="80000"/>
                </a:schemeClr>
              </a:solidFill>
            </a:endParaRPr>
          </a:p>
        </p:txBody>
      </p:sp>
      <p:pic>
        <p:nvPicPr>
          <p:cNvPr id="6" name="Bild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59197" y="1496291"/>
            <a:ext cx="7543800" cy="1005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562293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8FE09031-EBE6-4DEE-AD0C-10BC7B1EDF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257021" y="730650"/>
            <a:ext cx="20449101" cy="2650953"/>
          </a:xfrm>
        </p:spPr>
        <p:txBody>
          <a:bodyPr/>
          <a:lstStyle/>
          <a:p>
            <a:r>
              <a:rPr lang="nb-NO" dirty="0"/>
              <a:t>Erfaringe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1DA6F7B-27FB-48DE-BA24-2A302CB91DB7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69852" y="3554183"/>
            <a:ext cx="20449103" cy="8702109"/>
          </a:xfrm>
        </p:spPr>
        <p:txBody>
          <a:bodyPr/>
          <a:lstStyle/>
          <a:p>
            <a:r>
              <a:rPr lang="nb-NO" dirty="0"/>
              <a:t>Suksessfaktorer : </a:t>
            </a:r>
          </a:p>
          <a:p>
            <a:pPr lvl="1"/>
            <a:endParaRPr lang="nb-NO" dirty="0" smtClean="0"/>
          </a:p>
          <a:p>
            <a:pPr lvl="1"/>
            <a:r>
              <a:rPr lang="nb-NO" dirty="0"/>
              <a:t>Fast erfarent personell</a:t>
            </a:r>
          </a:p>
          <a:p>
            <a:pPr lvl="1"/>
            <a:r>
              <a:rPr lang="nb-NO" dirty="0"/>
              <a:t>Tilstrekkelig utstyr for diagnostikk og behandling</a:t>
            </a:r>
          </a:p>
          <a:p>
            <a:pPr lvl="1"/>
            <a:r>
              <a:rPr lang="nb-NO" dirty="0" smtClean="0"/>
              <a:t>Observasjonskompetanse </a:t>
            </a:r>
            <a:r>
              <a:rPr lang="nb-NO" dirty="0"/>
              <a:t>i kommunene</a:t>
            </a:r>
          </a:p>
          <a:p>
            <a:pPr lvl="1"/>
            <a:r>
              <a:rPr lang="nb-NO" dirty="0"/>
              <a:t>Tett samarbeid med responssenter og </a:t>
            </a:r>
            <a:r>
              <a:rPr lang="nb-NO" dirty="0" smtClean="0"/>
              <a:t>hjemmetjeneste</a:t>
            </a:r>
          </a:p>
          <a:p>
            <a:pPr lvl="1"/>
            <a:endParaRPr lang="nb-NO" dirty="0"/>
          </a:p>
          <a:p>
            <a:pPr lvl="1"/>
            <a:r>
              <a:rPr lang="nb-NO" dirty="0"/>
              <a:t>Digital samhandling/velferdsteknologi</a:t>
            </a:r>
          </a:p>
          <a:p>
            <a:pPr lvl="1"/>
            <a:r>
              <a:rPr lang="nb-NO" dirty="0"/>
              <a:t>Samtrening med </a:t>
            </a:r>
            <a:r>
              <a:rPr lang="nb-NO" dirty="0" smtClean="0"/>
              <a:t>spesialisthelsetjenesten</a:t>
            </a:r>
            <a:endParaRPr lang="nb-NO" dirty="0"/>
          </a:p>
        </p:txBody>
      </p:sp>
      <p:pic>
        <p:nvPicPr>
          <p:cNvPr id="6" name="Bilde 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12009" y="2056126"/>
            <a:ext cx="7537401" cy="10058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375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llestrøm kommune">
  <a:themeElements>
    <a:clrScheme name="Lillestrøm kommune">
      <a:dk1>
        <a:srgbClr val="233264"/>
      </a:dk1>
      <a:lt1>
        <a:srgbClr val="FFFFFF"/>
      </a:lt1>
      <a:dk2>
        <a:srgbClr val="000000"/>
      </a:dk2>
      <a:lt2>
        <a:srgbClr val="FAD2E6"/>
      </a:lt2>
      <a:accent1>
        <a:srgbClr val="3C78B4"/>
      </a:accent1>
      <a:accent2>
        <a:srgbClr val="233264"/>
      </a:accent2>
      <a:accent3>
        <a:srgbClr val="F07850"/>
      </a:accent3>
      <a:accent4>
        <a:srgbClr val="F0C8A0"/>
      </a:accent4>
      <a:accent5>
        <a:srgbClr val="FAD2E6"/>
      </a:accent5>
      <a:accent6>
        <a:srgbClr val="A0D2B4"/>
      </a:accent6>
      <a:hlink>
        <a:srgbClr val="3C78B4"/>
      </a:hlink>
      <a:folHlink>
        <a:srgbClr val="868686"/>
      </a:folHlink>
    </a:clrScheme>
    <a:fontScheme name="Arial-simpl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-tema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Lillestrøm kommune - standardmal2021.pptx" id="{D6B13E0D-A198-414E-B885-CDE7B9218711}" vid="{1D795661-0D89-46A0-9979-CD37C376A9BD}"/>
    </a:ext>
  </a:extLst>
</a:theme>
</file>

<file path=ppt/theme/theme2.xml><?xml version="1.0" encoding="utf-8"?>
<a:theme xmlns:a="http://schemas.openxmlformats.org/drawingml/2006/main" name="Office-tema">
  <a:themeElements>
    <a:clrScheme name="Lillestrøm Kommune">
      <a:dk1>
        <a:srgbClr val="233264"/>
      </a:dk1>
      <a:lt1>
        <a:srgbClr val="A0D2B3"/>
      </a:lt1>
      <a:dk2>
        <a:srgbClr val="3C78B3"/>
      </a:dk2>
      <a:lt2>
        <a:srgbClr val="FAD2E6"/>
      </a:lt2>
      <a:accent1>
        <a:srgbClr val="F07850"/>
      </a:accent1>
      <a:accent2>
        <a:srgbClr val="FAD2E6"/>
      </a:accent2>
      <a:accent3>
        <a:srgbClr val="233264"/>
      </a:accent3>
      <a:accent4>
        <a:srgbClr val="3C78B3"/>
      </a:accent4>
      <a:accent5>
        <a:srgbClr val="A0D2B3"/>
      </a:accent5>
      <a:accent6>
        <a:srgbClr val="F0C8A0"/>
      </a:accent6>
      <a:hlink>
        <a:srgbClr val="0563C1"/>
      </a:hlink>
      <a:folHlink>
        <a:srgbClr val="0563C1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25400" cap="rnd">
          <a:solidFill>
            <a:schemeClr val="tx1"/>
          </a:solidFill>
          <a:prstDash val="sysDot"/>
          <a:round/>
          <a:tailEnd type="oval" w="lg" len="lg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Presentation1" id="{ECB4FAC9-8B0F-E04F-A746-8EE3E87167AB}" vid="{84401A11-DCE6-A94A-B166-6A483056176F}"/>
    </a:ext>
  </a:extLst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fd627344-172a-44ec-85d4-3c23c9276501">
      <Terms xmlns="http://schemas.microsoft.com/office/infopath/2007/PartnerControls"/>
    </lcf76f155ced4ddcb4097134ff3c332f>
    <TaxCatchAll xmlns="f6cbf9eb-04c7-4aa3-aa97-53af56e74854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E78239D07186D740BB268E5703EF3734" ma:contentTypeVersion="13" ma:contentTypeDescription="Opprett et nytt dokument." ma:contentTypeScope="" ma:versionID="1bbfb3b43ed230dc3f386716b3e86807">
  <xsd:schema xmlns:xsd="http://www.w3.org/2001/XMLSchema" xmlns:xs="http://www.w3.org/2001/XMLSchema" xmlns:p="http://schemas.microsoft.com/office/2006/metadata/properties" xmlns:ns2="fd627344-172a-44ec-85d4-3c23c9276501" xmlns:ns3="f6cbf9eb-04c7-4aa3-aa97-53af56e74854" targetNamespace="http://schemas.microsoft.com/office/2006/metadata/properties" ma:root="true" ma:fieldsID="a481541ab894fb2bc3f3c70ab7e22166" ns2:_="" ns3:_="">
    <xsd:import namespace="fd627344-172a-44ec-85d4-3c23c9276501"/>
    <xsd:import namespace="f6cbf9eb-04c7-4aa3-aa97-53af56e7485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lcf76f155ced4ddcb4097134ff3c332f" minOccurs="0"/>
                <xsd:element ref="ns3:TaxCatchAll" minOccurs="0"/>
                <xsd:element ref="ns2:MediaServiceDateTaken" minOccurs="0"/>
                <xsd:element ref="ns2:MediaServiceOCR" minOccurs="0"/>
                <xsd:element ref="ns2:MediaServiceGenerationTime" minOccurs="0"/>
                <xsd:element ref="ns2:MediaServiceEventHashCod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d627344-172a-44ec-85d4-3c23c927650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lcf76f155ced4ddcb4097134ff3c332f" ma:index="15" nillable="true" ma:taxonomy="true" ma:internalName="lcf76f155ced4ddcb4097134ff3c332f" ma:taxonomyFieldName="MediaServiceImageTags" ma:displayName="Bildemerkelapper" ma:readOnly="false" ma:fieldId="{5cf76f15-5ced-4ddc-b409-7134ff3c332f}" ma:taxonomyMulti="true" ma:sspId="cd6fb8e6-e2dc-4be5-be9e-15d3ad23c7b8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DateTaken" ma:index="17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9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20" nillable="true" ma:displayName="MediaServiceEventHashCode" ma:hidden="true" ma:internalName="MediaServiceEventHashCode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6cbf9eb-04c7-4aa3-aa97-53af56e7485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16" nillable="true" ma:displayName="Taxonomy Catch All Column" ma:hidden="true" ma:list="{a648f86d-6fce-4601-b371-a3bba19f38be}" ma:internalName="TaxCatchAll" ma:showField="CatchAllData" ma:web="f6cbf9eb-04c7-4aa3-aa97-53af56e74854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2298B54-829F-4241-AD22-BF6FDA45B60A}">
  <ds:schemaRefs>
    <ds:schemaRef ds:uri="http://purl.org/dc/dcmitype/"/>
    <ds:schemaRef ds:uri="http://purl.org/dc/terms/"/>
    <ds:schemaRef ds:uri="http://purl.org/dc/elements/1.1/"/>
    <ds:schemaRef ds:uri="http://schemas.microsoft.com/office/infopath/2007/PartnerControls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  <ds:schemaRef ds:uri="f6cbf9eb-04c7-4aa3-aa97-53af56e74854"/>
    <ds:schemaRef ds:uri="fd627344-172a-44ec-85d4-3c23c9276501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C85DFC6D-388E-4FD6-9AD8-D6172FE01D5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9BAF36C-FC9D-4377-BB57-F67FBBDD111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fd627344-172a-44ec-85d4-3c23c9276501"/>
    <ds:schemaRef ds:uri="f6cbf9eb-04c7-4aa3-aa97-53af56e7485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Lillestrøm kommune - standardmal2021</Template>
  <TotalTime>802</TotalTime>
  <Words>242</Words>
  <Application>Microsoft Office PowerPoint</Application>
  <PresentationFormat>Egendefinert</PresentationFormat>
  <Paragraphs>91</Paragraphs>
  <Slides>10</Slides>
  <Notes>1</Notes>
  <HiddenSlides>0</HiddenSlides>
  <MMClips>0</MMClips>
  <ScaleCrop>false</ScaleCrop>
  <HeadingPairs>
    <vt:vector size="8" baseType="variant">
      <vt:variant>
        <vt:lpstr>Brukte skrifter</vt:lpstr>
      </vt:variant>
      <vt:variant>
        <vt:i4>3</vt:i4>
      </vt:variant>
      <vt:variant>
        <vt:lpstr>Tema</vt:lpstr>
      </vt:variant>
      <vt:variant>
        <vt:i4>2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0</vt:i4>
      </vt:variant>
    </vt:vector>
  </HeadingPairs>
  <TitlesOfParts>
    <vt:vector size="16" baseType="lpstr">
      <vt:lpstr>Arial</vt:lpstr>
      <vt:lpstr>Calibri</vt:lpstr>
      <vt:lpstr>Calibri Light</vt:lpstr>
      <vt:lpstr>Lillestrøm kommune</vt:lpstr>
      <vt:lpstr>Office-tema</vt:lpstr>
      <vt:lpstr>think-cell Slide</vt:lpstr>
      <vt:lpstr>PowerPoint-presentasjon</vt:lpstr>
      <vt:lpstr>Legevaktsdistriktet</vt:lpstr>
      <vt:lpstr>Organisering</vt:lpstr>
      <vt:lpstr>PowerPoint-presentasjon</vt:lpstr>
      <vt:lpstr>PowerPoint-presentasjon</vt:lpstr>
      <vt:lpstr>PowerPoint-presentasjon</vt:lpstr>
      <vt:lpstr>PowerPoint-presentasjon</vt:lpstr>
      <vt:lpstr>Oppdrag</vt:lpstr>
      <vt:lpstr>Erfaringer</vt:lpstr>
      <vt:lpstr>Takk for oppmerksomhete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Stacey Trodal</dc:creator>
  <cp:lastModifiedBy>Tonje Lorem</cp:lastModifiedBy>
  <cp:revision>97</cp:revision>
  <dcterms:created xsi:type="dcterms:W3CDTF">2021-04-14T06:56:33Z</dcterms:created>
  <dcterms:modified xsi:type="dcterms:W3CDTF">2023-02-27T14:20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78239D07186D740BB268E5703EF3734</vt:lpwstr>
  </property>
  <property fmtid="{D5CDD505-2E9C-101B-9397-08002B2CF9AE}" pid="3" name="MediaServiceImageTags">
    <vt:lpwstr/>
  </property>
</Properties>
</file>